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2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97" r:id="rId5"/>
  </p:sldMasterIdLst>
  <p:notesMasterIdLst>
    <p:notesMasterId r:id="rId12"/>
  </p:notesMasterIdLst>
  <p:handoutMasterIdLst>
    <p:handoutMasterId r:id="rId13"/>
  </p:handoutMasterIdLst>
  <p:sldIdLst>
    <p:sldId id="306" r:id="rId6"/>
    <p:sldId id="308" r:id="rId7"/>
    <p:sldId id="309" r:id="rId8"/>
    <p:sldId id="310" r:id="rId9"/>
    <p:sldId id="312" r:id="rId10"/>
    <p:sldId id="304" r:id="rId11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3681" userDrawn="1">
          <p15:clr>
            <a:srgbClr val="A4A3A4"/>
          </p15:clr>
        </p15:guide>
        <p15:guide id="3" orient="horz" pos="4156" userDrawn="1">
          <p15:clr>
            <a:srgbClr val="A4A3A4"/>
          </p15:clr>
        </p15:guide>
        <p15:guide id="4" pos="3999" userDrawn="1">
          <p15:clr>
            <a:srgbClr val="A4A3A4"/>
          </p15:clr>
        </p15:guide>
        <p15:guide id="5" pos="4906" userDrawn="1">
          <p15:clr>
            <a:srgbClr val="A4A3A4"/>
          </p15:clr>
        </p15:guide>
        <p15:guide id="6" pos="5223" userDrawn="1">
          <p15:clr>
            <a:srgbClr val="A4A3A4"/>
          </p15:clr>
        </p15:guide>
        <p15:guide id="7" pos="7355" userDrawn="1">
          <p15:clr>
            <a:srgbClr val="A4A3A4"/>
          </p15:clr>
        </p15:guide>
        <p15:guide id="8" pos="2774" userDrawn="1">
          <p15:clr>
            <a:srgbClr val="A4A3A4"/>
          </p15:clr>
        </p15:guide>
        <p15:guide id="9" pos="2457" userDrawn="1">
          <p15:clr>
            <a:srgbClr val="A4A3A4"/>
          </p15:clr>
        </p15:guide>
        <p15:guide id="10" pos="3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68" autoAdjust="0"/>
    <p:restoredTop sz="96201" autoAdjust="0"/>
  </p:normalViewPr>
  <p:slideViewPr>
    <p:cSldViewPr snapToGrid="0" showGuides="1">
      <p:cViewPr varScale="1">
        <p:scale>
          <a:sx n="160" d="100"/>
          <a:sy n="160" d="100"/>
        </p:scale>
        <p:origin x="2580" y="138"/>
      </p:cViewPr>
      <p:guideLst>
        <p:guide orient="horz" pos="1117"/>
        <p:guide pos="3681"/>
        <p:guide orient="horz" pos="4156"/>
        <p:guide pos="3999"/>
        <p:guide pos="4906"/>
        <p:guide pos="5223"/>
        <p:guide pos="7355"/>
        <p:guide pos="2774"/>
        <p:guide pos="2457"/>
        <p:guide pos="3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>
        <p:scale>
          <a:sx n="100" d="100"/>
          <a:sy n="100" d="100"/>
        </p:scale>
        <p:origin x="8112" y="7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7D64EC-A705-4C17-9CE3-DE19ECFBFD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6672" y="8738592"/>
            <a:ext cx="58686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en-GB" sz="1000">
              <a:solidFill>
                <a:schemeClr val="accent5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760925-84B3-49B1-8191-2F37311C4C5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417332" y="8707814"/>
            <a:ext cx="310331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46E11035-3B36-4111-B30C-577576D0D0DE}" type="slidenum">
              <a:rPr lang="en-GB" smtClean="0">
                <a:solidFill>
                  <a:schemeClr val="accent5"/>
                </a:solidFill>
              </a:rPr>
              <a:t>‹#›</a:t>
            </a:fld>
            <a:endParaRPr lang="en-GB">
              <a:solidFill>
                <a:schemeClr val="accent5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C5064F9-A3BD-415B-830B-C516965DE1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776439" y="143508"/>
            <a:ext cx="964929" cy="17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3117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85800" y="8738592"/>
            <a:ext cx="5486400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5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417332" y="8707814"/>
            <a:ext cx="310331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fld id="{8DF5F71B-A725-4DE1-82F0-654EF80DA56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21DFC9-BDA4-455F-8DEF-8730B9F74F2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776439" y="143508"/>
            <a:ext cx="964929" cy="17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517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Bef>
        <a:spcPts val="200"/>
      </a:spcBef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spcBef>
        <a:spcPts val="200"/>
      </a:spcBef>
      <a:buClr>
        <a:schemeClr val="accent2"/>
      </a:buClr>
      <a:buFont typeface="GothamSSm" pitchFamily="2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spcBef>
        <a:spcPts val="200"/>
      </a:spcBef>
      <a:buClr>
        <a:schemeClr val="accent2"/>
      </a:buClr>
      <a:buFont typeface="GothamSSm" pitchFamily="2" charset="0"/>
      <a:buChar char="–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539750" indent="-180000" algn="l" defTabSz="914400" rtl="0" eaLnBrk="1" latinLnBrk="0" hangingPunct="1">
      <a:spcBef>
        <a:spcPts val="200"/>
      </a:spcBef>
      <a:buClr>
        <a:schemeClr val="accent2"/>
      </a:buClr>
      <a:buFont typeface="GothamSSm" pitchFamily="2" charset="0"/>
      <a:buChar char="–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emf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4.emf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2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4.emf"/><Relationship Id="rId10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23.sv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34.bin"/><Relationship Id="rId7" Type="http://schemas.openxmlformats.org/officeDocument/2006/relationships/image" Target="../media/image2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4.emf"/><Relationship Id="rId10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23.sv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35.bin"/><Relationship Id="rId7" Type="http://schemas.openxmlformats.org/officeDocument/2006/relationships/image" Target="../media/image2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4.emf"/><Relationship Id="rId10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23.sv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36.bin"/><Relationship Id="rId7" Type="http://schemas.openxmlformats.org/officeDocument/2006/relationships/image" Target="../media/image2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4.emf"/><Relationship Id="rId10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23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5" Type="http://schemas.openxmlformats.org/officeDocument/2006/relationships/image" Target="../media/image4.emf"/><Relationship Id="rId4" Type="http://schemas.openxmlformats.org/officeDocument/2006/relationships/image" Target="../media/image2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4.emf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6" Type="http://schemas.openxmlformats.org/officeDocument/2006/relationships/image" Target="../media/image4.emf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6" Type="http://schemas.openxmlformats.org/officeDocument/2006/relationships/image" Target="../media/image4.emf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6" Type="http://schemas.openxmlformats.org/officeDocument/2006/relationships/image" Target="../media/image2.emf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6" Type="http://schemas.openxmlformats.org/officeDocument/2006/relationships/image" Target="../media/image4.emf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6" Type="http://schemas.openxmlformats.org/officeDocument/2006/relationships/image" Target="../media/image4.emf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79.bin"/><Relationship Id="rId7" Type="http://schemas.openxmlformats.org/officeDocument/2006/relationships/image" Target="../media/image21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4.emf"/><Relationship Id="rId10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23.sv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80.bin"/><Relationship Id="rId7" Type="http://schemas.openxmlformats.org/officeDocument/2006/relationships/image" Target="../media/image21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4.emf"/><Relationship Id="rId10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23.svg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81.bin"/><Relationship Id="rId7" Type="http://schemas.openxmlformats.org/officeDocument/2006/relationships/image" Target="../media/image21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5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4.emf"/><Relationship Id="rId10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23.svg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82.bin"/><Relationship Id="rId7" Type="http://schemas.openxmlformats.org/officeDocument/2006/relationships/image" Target="../media/image21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4.emf"/><Relationship Id="rId10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23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7.xml"/><Relationship Id="rId5" Type="http://schemas.openxmlformats.org/officeDocument/2006/relationships/image" Target="../media/image4.emf"/><Relationship Id="rId4" Type="http://schemas.openxmlformats.org/officeDocument/2006/relationships/image" Target="../media/image26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9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0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6" Type="http://schemas.openxmlformats.org/officeDocument/2006/relationships/image" Target="../media/image4.emf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emf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340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A large crowd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7657A8BF-7518-4535-8355-43029AF74E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-1"/>
            <a:ext cx="6095999" cy="68580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F7A86F4-FA12-4653-BE93-43D28462DAF3}"/>
              </a:ext>
            </a:extLst>
          </p:cNvPr>
          <p:cNvGrpSpPr/>
          <p:nvPr userDrawn="1"/>
        </p:nvGrpSpPr>
        <p:grpSpPr bwMode="white">
          <a:xfrm>
            <a:off x="5334007" y="0"/>
            <a:ext cx="6857993" cy="6858000"/>
            <a:chOff x="5334007" y="0"/>
            <a:chExt cx="6857993" cy="6858000"/>
          </a:xfrm>
        </p:grpSpPr>
        <p:sp>
          <p:nvSpPr>
            <p:cNvPr id="15" name="Graphic 26">
              <a:extLst>
                <a:ext uri="{FF2B5EF4-FFF2-40B4-BE49-F238E27FC236}">
                  <a16:creationId xmlns:a16="http://schemas.microsoft.com/office/drawing/2014/main" id="{3A01106B-747B-408F-B6EE-C68EAEC48E96}"/>
                </a:ext>
              </a:extLst>
            </p:cNvPr>
            <p:cNvSpPr/>
            <p:nvPr/>
          </p:nvSpPr>
          <p:spPr bwMode="white">
            <a:xfrm>
              <a:off x="5745486" y="0"/>
              <a:ext cx="960119" cy="6858000"/>
            </a:xfrm>
            <a:custGeom>
              <a:avLst/>
              <a:gdLst>
                <a:gd name="connsiteX0" fmla="*/ 0 w 960119"/>
                <a:gd name="connsiteY0" fmla="*/ 0 h 6857993"/>
                <a:gd name="connsiteX1" fmla="*/ 960119 w 960119"/>
                <a:gd name="connsiteY1" fmla="*/ 0 h 6857993"/>
                <a:gd name="connsiteX2" fmla="*/ 960119 w 960119"/>
                <a:gd name="connsiteY2" fmla="*/ 6857993 h 6857993"/>
                <a:gd name="connsiteX3" fmla="*/ 0 w 9601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0119" h="6857993">
                  <a:moveTo>
                    <a:pt x="0" y="0"/>
                  </a:moveTo>
                  <a:lnTo>
                    <a:pt x="960119" y="0"/>
                  </a:lnTo>
                  <a:lnTo>
                    <a:pt x="9601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phic 26">
              <a:extLst>
                <a:ext uri="{FF2B5EF4-FFF2-40B4-BE49-F238E27FC236}">
                  <a16:creationId xmlns:a16="http://schemas.microsoft.com/office/drawing/2014/main" id="{0E01C1D3-4ACE-4808-8564-A10B7D9402D5}"/>
                </a:ext>
              </a:extLst>
            </p:cNvPr>
            <p:cNvSpPr/>
            <p:nvPr/>
          </p:nvSpPr>
          <p:spPr bwMode="white">
            <a:xfrm>
              <a:off x="7345684" y="0"/>
              <a:ext cx="731519" cy="6858000"/>
            </a:xfrm>
            <a:custGeom>
              <a:avLst/>
              <a:gdLst>
                <a:gd name="connsiteX0" fmla="*/ 0 w 731519"/>
                <a:gd name="connsiteY0" fmla="*/ 0 h 6857993"/>
                <a:gd name="connsiteX1" fmla="*/ 731519 w 731519"/>
                <a:gd name="connsiteY1" fmla="*/ 0 h 6857993"/>
                <a:gd name="connsiteX2" fmla="*/ 731519 w 731519"/>
                <a:gd name="connsiteY2" fmla="*/ 6857993 h 6857993"/>
                <a:gd name="connsiteX3" fmla="*/ 0 w 7315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519" h="6857993">
                  <a:moveTo>
                    <a:pt x="0" y="0"/>
                  </a:moveTo>
                  <a:lnTo>
                    <a:pt x="731519" y="0"/>
                  </a:lnTo>
                  <a:lnTo>
                    <a:pt x="7315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Graphic 26">
              <a:extLst>
                <a:ext uri="{FF2B5EF4-FFF2-40B4-BE49-F238E27FC236}">
                  <a16:creationId xmlns:a16="http://schemas.microsoft.com/office/drawing/2014/main" id="{18DF3446-E12A-4B24-A59A-7FA337528D59}"/>
                </a:ext>
              </a:extLst>
            </p:cNvPr>
            <p:cNvSpPr/>
            <p:nvPr/>
          </p:nvSpPr>
          <p:spPr bwMode="white">
            <a:xfrm>
              <a:off x="8968743" y="0"/>
              <a:ext cx="480059" cy="6858000"/>
            </a:xfrm>
            <a:custGeom>
              <a:avLst/>
              <a:gdLst>
                <a:gd name="connsiteX0" fmla="*/ 0 w 480059"/>
                <a:gd name="connsiteY0" fmla="*/ 0 h 6857993"/>
                <a:gd name="connsiteX1" fmla="*/ 480060 w 480059"/>
                <a:gd name="connsiteY1" fmla="*/ 0 h 6857993"/>
                <a:gd name="connsiteX2" fmla="*/ 480060 w 480059"/>
                <a:gd name="connsiteY2" fmla="*/ 6857993 h 6857993"/>
                <a:gd name="connsiteX3" fmla="*/ 0 w 4800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9" h="6857993">
                  <a:moveTo>
                    <a:pt x="0" y="0"/>
                  </a:moveTo>
                  <a:lnTo>
                    <a:pt x="480060" y="0"/>
                  </a:lnTo>
                  <a:lnTo>
                    <a:pt x="4800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Graphic 26">
              <a:extLst>
                <a:ext uri="{FF2B5EF4-FFF2-40B4-BE49-F238E27FC236}">
                  <a16:creationId xmlns:a16="http://schemas.microsoft.com/office/drawing/2014/main" id="{3E5A4A23-D391-43A6-A29B-C0C6A6808EF3}"/>
                </a:ext>
              </a:extLst>
            </p:cNvPr>
            <p:cNvSpPr/>
            <p:nvPr/>
          </p:nvSpPr>
          <p:spPr bwMode="white">
            <a:xfrm>
              <a:off x="10568941" y="0"/>
              <a:ext cx="251459" cy="6858000"/>
            </a:xfrm>
            <a:custGeom>
              <a:avLst/>
              <a:gdLst>
                <a:gd name="connsiteX0" fmla="*/ 0 w 251459"/>
                <a:gd name="connsiteY0" fmla="*/ 0 h 6857993"/>
                <a:gd name="connsiteX1" fmla="*/ 251460 w 251459"/>
                <a:gd name="connsiteY1" fmla="*/ 0 h 6857993"/>
                <a:gd name="connsiteX2" fmla="*/ 251460 w 251459"/>
                <a:gd name="connsiteY2" fmla="*/ 6857993 h 6857993"/>
                <a:gd name="connsiteX3" fmla="*/ 0 w 2514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59" h="6857993">
                  <a:moveTo>
                    <a:pt x="0" y="0"/>
                  </a:moveTo>
                  <a:lnTo>
                    <a:pt x="251460" y="0"/>
                  </a:lnTo>
                  <a:lnTo>
                    <a:pt x="2514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Graphic 26">
              <a:extLst>
                <a:ext uri="{FF2B5EF4-FFF2-40B4-BE49-F238E27FC236}">
                  <a16:creationId xmlns:a16="http://schemas.microsoft.com/office/drawing/2014/main" id="{28974072-4C0A-48BD-B197-2C5E176AFE68}"/>
                </a:ext>
              </a:extLst>
            </p:cNvPr>
            <p:cNvSpPr/>
            <p:nvPr/>
          </p:nvSpPr>
          <p:spPr bwMode="white">
            <a:xfrm>
              <a:off x="5334007" y="0"/>
              <a:ext cx="6857993" cy="6858000"/>
            </a:xfrm>
            <a:custGeom>
              <a:avLst/>
              <a:gdLst>
                <a:gd name="connsiteX0" fmla="*/ 0 w 6857993"/>
                <a:gd name="connsiteY0" fmla="*/ 0 h 6857993"/>
                <a:gd name="connsiteX1" fmla="*/ 6857993 w 6857993"/>
                <a:gd name="connsiteY1" fmla="*/ 0 h 6857993"/>
                <a:gd name="connsiteX2" fmla="*/ 6857993 w 6857993"/>
                <a:gd name="connsiteY2" fmla="*/ 6857993 h 6857993"/>
                <a:gd name="connsiteX3" fmla="*/ 0 w 6857993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3" h="6857993">
                  <a:moveTo>
                    <a:pt x="0" y="0"/>
                  </a:moveTo>
                  <a:lnTo>
                    <a:pt x="6857993" y="0"/>
                  </a:lnTo>
                  <a:lnTo>
                    <a:pt x="6857993" y="6857993"/>
                  </a:lnTo>
                  <a:lnTo>
                    <a:pt x="0" y="6857993"/>
                  </a:lnTo>
                  <a:close/>
                </a:path>
              </a:pathLst>
            </a:custGeom>
            <a:noFill/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location, date (optional)</a:t>
            </a:r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349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Agenda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907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agenda placeholder</a:t>
            </a:r>
            <a:endParaRPr lang="en-GB" dirty="0"/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5725501F-36F8-400F-B426-0EC28DCA70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314BD5F-0A7B-4988-9AC7-A84C1DDEE4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07901" y="1772816"/>
            <a:ext cx="3384000" cy="2304000"/>
          </a:xfrm>
          <a:solidFill>
            <a:schemeClr val="bg1"/>
          </a:solidFill>
        </p:spPr>
        <p:txBody>
          <a:bodyPr lIns="108000" tIns="180000" rIns="108000" bIns="180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B52BDBA-4EC7-4E5D-AA78-6CE7917C22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380" y="1772816"/>
            <a:ext cx="1000375" cy="615553"/>
          </a:xfrm>
        </p:spPr>
        <p:txBody>
          <a:bodyPr wrap="none" lIns="108000" r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0F5E86A-F5C1-49C9-88C5-937C3BB071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4396521" y="1772816"/>
            <a:ext cx="3384000" cy="2304000"/>
          </a:xfrm>
          <a:solidFill>
            <a:schemeClr val="bg1"/>
          </a:solidFill>
        </p:spPr>
        <p:txBody>
          <a:bodyPr lIns="108000" tIns="180000" rIns="108000" bIns="180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8270417-7B92-4494-A137-0E784F5E7D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04000" y="1772816"/>
            <a:ext cx="1000375" cy="615553"/>
          </a:xfrm>
        </p:spPr>
        <p:txBody>
          <a:bodyPr wrap="none" lIns="108000" r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EBA1520B-C172-40A9-B5AE-5CEC0A5824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8285141" y="1772816"/>
            <a:ext cx="3384000" cy="2304000"/>
          </a:xfrm>
          <a:solidFill>
            <a:schemeClr val="bg1"/>
          </a:solidFill>
        </p:spPr>
        <p:txBody>
          <a:bodyPr lIns="108000" tIns="180000" rIns="108000" bIns="180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C9D865-449D-4F49-8C95-FF40B730CA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92620" y="1772816"/>
            <a:ext cx="1000375" cy="615553"/>
          </a:xfrm>
        </p:spPr>
        <p:txBody>
          <a:bodyPr wrap="none" lIns="108000" r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E201F39-2E95-4599-9C5C-04AFB7DCCB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507901" y="4293096"/>
            <a:ext cx="3384000" cy="2304000"/>
          </a:xfrm>
          <a:solidFill>
            <a:schemeClr val="bg1"/>
          </a:solidFill>
        </p:spPr>
        <p:txBody>
          <a:bodyPr lIns="108000" tIns="180000" rIns="108000" bIns="180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267DE236-04D0-4C91-9D40-879FEAD6E7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380" y="4293096"/>
            <a:ext cx="1000375" cy="615553"/>
          </a:xfrm>
        </p:spPr>
        <p:txBody>
          <a:bodyPr wrap="none" lIns="108000" r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5DEB880D-4BD6-4115-83C6-8D785D150E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4396521" y="4293096"/>
            <a:ext cx="3384000" cy="2304000"/>
          </a:xfrm>
          <a:solidFill>
            <a:schemeClr val="bg1"/>
          </a:solidFill>
        </p:spPr>
        <p:txBody>
          <a:bodyPr lIns="108000" tIns="180000" rIns="108000" bIns="180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0B5BF540-11C9-41BB-B7AF-045297217D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04000" y="4293096"/>
            <a:ext cx="1000375" cy="615553"/>
          </a:xfrm>
        </p:spPr>
        <p:txBody>
          <a:bodyPr wrap="none" lIns="108000" r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F0AB349B-0875-40D2-A3FA-9BB80729D5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white">
          <a:xfrm>
            <a:off x="8285141" y="4293096"/>
            <a:ext cx="3384000" cy="2304000"/>
          </a:xfrm>
          <a:solidFill>
            <a:schemeClr val="bg1"/>
          </a:solidFill>
        </p:spPr>
        <p:txBody>
          <a:bodyPr lIns="108000" tIns="180000" rIns="108000" bIns="180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846500A-5929-42C1-B324-F3AF6312F76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92620" y="4293096"/>
            <a:ext cx="1000375" cy="615553"/>
          </a:xfrm>
        </p:spPr>
        <p:txBody>
          <a:bodyPr wrap="none" lIns="108000" r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56326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Agenda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589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phic 18">
            <a:extLst>
              <a:ext uri="{FF2B5EF4-FFF2-40B4-BE49-F238E27FC236}">
                <a16:creationId xmlns:a16="http://schemas.microsoft.com/office/drawing/2014/main" id="{AC64632D-7AE6-4B85-A3B1-68DE710F6C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6960096" y="2006255"/>
            <a:ext cx="4152032" cy="41847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955875"/>
            <a:ext cx="11160000" cy="4431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agenda placeholder</a:t>
            </a:r>
            <a:endParaRPr lang="en-GB" dirty="0"/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5725501F-36F8-400F-B426-0EC28DCA70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874D7D0-7FC3-457C-8B23-1C7FA5D155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379" y="1808940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3DCEBA8A-944B-4DAD-9990-5D2A8806FC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235460" y="1972743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C8594833-F232-43C8-81FF-E78FFB47A3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9" y="2520234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08D2D705-40F2-44C0-830C-5CFB7B5A24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1235460" y="2684009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868C445B-536A-4BFA-8EDA-E9D274CAD4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515379" y="3231528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EEDFDD97-99C9-47D4-8AAB-F2B150C357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235460" y="3395275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09F67DAD-BC4C-4DA4-AEDE-2357CC6D3A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515379" y="3942822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888E5D34-3220-4461-B53E-FFB09FB7D4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235460" y="4106541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2B17ED1C-CE6C-4746-8BA1-64C77860955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515379" y="4654116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28E7329F-CAB7-4035-AEDE-7D7C6E5844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1235460" y="4817807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81D9048F-56C0-4E7A-95DA-F1237E8F50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515379" y="5365410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DA2A46CF-A6EE-45F3-9E2F-0849FB1AD0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1235460" y="5529073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7360404D-9CF1-436F-BB0D-A5781D22886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515379" y="6076704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68DA1429-EE43-46AF-9384-A85FFF2FF7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1235460" y="6240338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cxnSp>
        <p:nvCxnSpPr>
          <p:cNvPr id="21" name="Straight Connector 17">
            <a:extLst>
              <a:ext uri="{FF2B5EF4-FFF2-40B4-BE49-F238E27FC236}">
                <a16:creationId xmlns:a16="http://schemas.microsoft.com/office/drawing/2014/main" id="{23AF8A91-A577-4FE5-9BD8-1D28C2423E01}"/>
              </a:ext>
            </a:extLst>
          </p:cNvPr>
          <p:cNvCxnSpPr>
            <a:cxnSpLocks/>
          </p:cNvCxnSpPr>
          <p:nvPr userDrawn="1"/>
        </p:nvCxnSpPr>
        <p:spPr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9695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hapter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7559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phic 18">
            <a:extLst>
              <a:ext uri="{FF2B5EF4-FFF2-40B4-BE49-F238E27FC236}">
                <a16:creationId xmlns:a16="http://schemas.microsoft.com/office/drawing/2014/main" id="{24618591-52A9-4CF3-B417-AD57BCE7D73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6960096" y="2006255"/>
            <a:ext cx="4152032" cy="4184726"/>
          </a:xfrm>
          <a:prstGeom prst="rect">
            <a:avLst/>
          </a:prstGeom>
        </p:spPr>
      </p:pic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A14E365D-5F11-407F-AAA6-24104C0F34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515379" y="955875"/>
            <a:ext cx="626775" cy="443198"/>
          </a:xfrm>
        </p:spPr>
        <p:txBody>
          <a:bodyPr wrap="none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5DD7A8F-F5C3-404B-9290-DA6F6C82F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1772816"/>
            <a:ext cx="11160000" cy="387798"/>
          </a:xfrm>
        </p:spPr>
        <p:txBody>
          <a:bodyPr vert="horz" anchor="t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chapter name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16D999-1B4D-4357-8004-3925CF1C7FCD}"/>
              </a:ext>
            </a:extLst>
          </p:cNvPr>
          <p:cNvCxnSpPr>
            <a:cxnSpLocks/>
          </p:cNvCxnSpPr>
          <p:nvPr userDrawn="1"/>
        </p:nvCxnSpPr>
        <p:spPr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9">
            <a:extLst>
              <a:ext uri="{FF2B5EF4-FFF2-40B4-BE49-F238E27FC236}">
                <a16:creationId xmlns:a16="http://schemas.microsoft.com/office/drawing/2014/main" id="{538AF1E9-0975-4D87-8067-BCA436FD549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1684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050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4067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Only (Blu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264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E0E887F1-983E-4C05-BDBB-F367A9A3C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087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021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379" y="1772816"/>
            <a:ext cx="11160683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32173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and Text (Blu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5083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9" y="1772816"/>
            <a:ext cx="11160683" cy="48248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2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2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2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2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US" dirty="0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F3A920FA-D4CB-4C79-A1E7-87F48C0719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7096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5409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/>
              <a:t>Click to edit slide title (maximum two lines)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8" y="1772816"/>
            <a:ext cx="5328000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5F314F-31D2-4A0C-83F0-573E1E905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6348028" y="1772816"/>
            <a:ext cx="5328000" cy="4824834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317408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305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8" y="1772816"/>
            <a:ext cx="3385110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5F314F-31D2-4A0C-83F0-573E1E905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4403812" y="1772816"/>
            <a:ext cx="3384463" cy="4824834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3697EE3-E7C1-49CD-8834-15389A8D3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8292244" y="1772816"/>
            <a:ext cx="3384463" cy="4824834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45380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917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8" y="1772816"/>
            <a:ext cx="5328000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48028" y="1772815"/>
            <a:ext cx="5328000" cy="48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61551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9239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10">
            <a:extLst>
              <a:ext uri="{FF2B5EF4-FFF2-40B4-BE49-F238E27FC236}">
                <a16:creationId xmlns:a16="http://schemas.microsoft.com/office/drawing/2014/main" id="{E20356AD-0FE0-4FB6-98D0-A22DF90165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5380" y="-698"/>
            <a:ext cx="6096620" cy="685869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F7A86F4-FA12-4653-BE93-43D28462DAF3}"/>
              </a:ext>
            </a:extLst>
          </p:cNvPr>
          <p:cNvGrpSpPr/>
          <p:nvPr userDrawn="1"/>
        </p:nvGrpSpPr>
        <p:grpSpPr bwMode="white">
          <a:xfrm>
            <a:off x="5334007" y="0"/>
            <a:ext cx="6857993" cy="6858000"/>
            <a:chOff x="5334007" y="0"/>
            <a:chExt cx="6857993" cy="6858000"/>
          </a:xfrm>
        </p:grpSpPr>
        <p:sp>
          <p:nvSpPr>
            <p:cNvPr id="15" name="Graphic 26">
              <a:extLst>
                <a:ext uri="{FF2B5EF4-FFF2-40B4-BE49-F238E27FC236}">
                  <a16:creationId xmlns:a16="http://schemas.microsoft.com/office/drawing/2014/main" id="{3A01106B-747B-408F-B6EE-C68EAEC48E96}"/>
                </a:ext>
              </a:extLst>
            </p:cNvPr>
            <p:cNvSpPr/>
            <p:nvPr/>
          </p:nvSpPr>
          <p:spPr bwMode="white">
            <a:xfrm>
              <a:off x="5745486" y="0"/>
              <a:ext cx="960119" cy="6858000"/>
            </a:xfrm>
            <a:custGeom>
              <a:avLst/>
              <a:gdLst>
                <a:gd name="connsiteX0" fmla="*/ 0 w 960119"/>
                <a:gd name="connsiteY0" fmla="*/ 0 h 6857993"/>
                <a:gd name="connsiteX1" fmla="*/ 960119 w 960119"/>
                <a:gd name="connsiteY1" fmla="*/ 0 h 6857993"/>
                <a:gd name="connsiteX2" fmla="*/ 960119 w 960119"/>
                <a:gd name="connsiteY2" fmla="*/ 6857993 h 6857993"/>
                <a:gd name="connsiteX3" fmla="*/ 0 w 9601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0119" h="6857993">
                  <a:moveTo>
                    <a:pt x="0" y="0"/>
                  </a:moveTo>
                  <a:lnTo>
                    <a:pt x="960119" y="0"/>
                  </a:lnTo>
                  <a:lnTo>
                    <a:pt x="9601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phic 26">
              <a:extLst>
                <a:ext uri="{FF2B5EF4-FFF2-40B4-BE49-F238E27FC236}">
                  <a16:creationId xmlns:a16="http://schemas.microsoft.com/office/drawing/2014/main" id="{0E01C1D3-4ACE-4808-8564-A10B7D9402D5}"/>
                </a:ext>
              </a:extLst>
            </p:cNvPr>
            <p:cNvSpPr/>
            <p:nvPr/>
          </p:nvSpPr>
          <p:spPr bwMode="white">
            <a:xfrm>
              <a:off x="7345684" y="0"/>
              <a:ext cx="731519" cy="6858000"/>
            </a:xfrm>
            <a:custGeom>
              <a:avLst/>
              <a:gdLst>
                <a:gd name="connsiteX0" fmla="*/ 0 w 731519"/>
                <a:gd name="connsiteY0" fmla="*/ 0 h 6857993"/>
                <a:gd name="connsiteX1" fmla="*/ 731519 w 731519"/>
                <a:gd name="connsiteY1" fmla="*/ 0 h 6857993"/>
                <a:gd name="connsiteX2" fmla="*/ 731519 w 731519"/>
                <a:gd name="connsiteY2" fmla="*/ 6857993 h 6857993"/>
                <a:gd name="connsiteX3" fmla="*/ 0 w 7315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519" h="6857993">
                  <a:moveTo>
                    <a:pt x="0" y="0"/>
                  </a:moveTo>
                  <a:lnTo>
                    <a:pt x="731519" y="0"/>
                  </a:lnTo>
                  <a:lnTo>
                    <a:pt x="7315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Graphic 26">
              <a:extLst>
                <a:ext uri="{FF2B5EF4-FFF2-40B4-BE49-F238E27FC236}">
                  <a16:creationId xmlns:a16="http://schemas.microsoft.com/office/drawing/2014/main" id="{18DF3446-E12A-4B24-A59A-7FA337528D59}"/>
                </a:ext>
              </a:extLst>
            </p:cNvPr>
            <p:cNvSpPr/>
            <p:nvPr/>
          </p:nvSpPr>
          <p:spPr bwMode="white">
            <a:xfrm>
              <a:off x="8968743" y="0"/>
              <a:ext cx="480059" cy="6858000"/>
            </a:xfrm>
            <a:custGeom>
              <a:avLst/>
              <a:gdLst>
                <a:gd name="connsiteX0" fmla="*/ 0 w 480059"/>
                <a:gd name="connsiteY0" fmla="*/ 0 h 6857993"/>
                <a:gd name="connsiteX1" fmla="*/ 480060 w 480059"/>
                <a:gd name="connsiteY1" fmla="*/ 0 h 6857993"/>
                <a:gd name="connsiteX2" fmla="*/ 480060 w 480059"/>
                <a:gd name="connsiteY2" fmla="*/ 6857993 h 6857993"/>
                <a:gd name="connsiteX3" fmla="*/ 0 w 4800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9" h="6857993">
                  <a:moveTo>
                    <a:pt x="0" y="0"/>
                  </a:moveTo>
                  <a:lnTo>
                    <a:pt x="480060" y="0"/>
                  </a:lnTo>
                  <a:lnTo>
                    <a:pt x="4800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Graphic 26">
              <a:extLst>
                <a:ext uri="{FF2B5EF4-FFF2-40B4-BE49-F238E27FC236}">
                  <a16:creationId xmlns:a16="http://schemas.microsoft.com/office/drawing/2014/main" id="{3E5A4A23-D391-43A6-A29B-C0C6A6808EF3}"/>
                </a:ext>
              </a:extLst>
            </p:cNvPr>
            <p:cNvSpPr/>
            <p:nvPr/>
          </p:nvSpPr>
          <p:spPr bwMode="white">
            <a:xfrm>
              <a:off x="10568941" y="0"/>
              <a:ext cx="251459" cy="6858000"/>
            </a:xfrm>
            <a:custGeom>
              <a:avLst/>
              <a:gdLst>
                <a:gd name="connsiteX0" fmla="*/ 0 w 251459"/>
                <a:gd name="connsiteY0" fmla="*/ 0 h 6857993"/>
                <a:gd name="connsiteX1" fmla="*/ 251460 w 251459"/>
                <a:gd name="connsiteY1" fmla="*/ 0 h 6857993"/>
                <a:gd name="connsiteX2" fmla="*/ 251460 w 251459"/>
                <a:gd name="connsiteY2" fmla="*/ 6857993 h 6857993"/>
                <a:gd name="connsiteX3" fmla="*/ 0 w 2514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59" h="6857993">
                  <a:moveTo>
                    <a:pt x="0" y="0"/>
                  </a:moveTo>
                  <a:lnTo>
                    <a:pt x="251460" y="0"/>
                  </a:lnTo>
                  <a:lnTo>
                    <a:pt x="2514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Graphic 26">
              <a:extLst>
                <a:ext uri="{FF2B5EF4-FFF2-40B4-BE49-F238E27FC236}">
                  <a16:creationId xmlns:a16="http://schemas.microsoft.com/office/drawing/2014/main" id="{28974072-4C0A-48BD-B197-2C5E176AFE68}"/>
                </a:ext>
              </a:extLst>
            </p:cNvPr>
            <p:cNvSpPr/>
            <p:nvPr/>
          </p:nvSpPr>
          <p:spPr bwMode="white">
            <a:xfrm>
              <a:off x="5334007" y="0"/>
              <a:ext cx="6857993" cy="6858000"/>
            </a:xfrm>
            <a:custGeom>
              <a:avLst/>
              <a:gdLst>
                <a:gd name="connsiteX0" fmla="*/ 0 w 6857993"/>
                <a:gd name="connsiteY0" fmla="*/ 0 h 6857993"/>
                <a:gd name="connsiteX1" fmla="*/ 6857993 w 6857993"/>
                <a:gd name="connsiteY1" fmla="*/ 0 h 6857993"/>
                <a:gd name="connsiteX2" fmla="*/ 6857993 w 6857993"/>
                <a:gd name="connsiteY2" fmla="*/ 6857993 h 6857993"/>
                <a:gd name="connsiteX3" fmla="*/ 0 w 6857993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3" h="6857993">
                  <a:moveTo>
                    <a:pt x="0" y="0"/>
                  </a:moveTo>
                  <a:lnTo>
                    <a:pt x="6857993" y="0"/>
                  </a:lnTo>
                  <a:lnTo>
                    <a:pt x="6857993" y="6857993"/>
                  </a:lnTo>
                  <a:lnTo>
                    <a:pt x="0" y="6857993"/>
                  </a:lnTo>
                  <a:close/>
                </a:path>
              </a:pathLst>
            </a:custGeom>
            <a:noFill/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6877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50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8" y="1772816"/>
            <a:ext cx="5328000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48028" y="1772815"/>
            <a:ext cx="5328000" cy="2340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BAA42FE7-AA4A-4E9E-A0E0-25E2CDE40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48028" y="4257092"/>
            <a:ext cx="5328000" cy="2340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4904918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393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6348028" y="1772815"/>
            <a:ext cx="5328000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378" y="1772816"/>
            <a:ext cx="5328000" cy="48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5481438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2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803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6348028" y="1772815"/>
            <a:ext cx="5328000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378" y="1772816"/>
            <a:ext cx="5328000" cy="2340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BAA42FE7-AA4A-4E9E-A0E0-25E2CDE40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15378" y="4257352"/>
            <a:ext cx="5328000" cy="2340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9970394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4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C7D93E-DA72-4AEB-8F8F-D9566B56F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6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C7D93E-DA72-4AEB-8F8F-D9566B56F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33AFCF-B896-4DC7-9E1F-6CFCBD3F9CF2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103648-B850-4B17-87C8-5ED29457C8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D86141-B919-4C56-B9C4-88999E5381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42F605C-B2F2-4272-AE72-38C04A7DF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919536" y="1772816"/>
            <a:ext cx="4032000" cy="2268000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4B46E07D-7DFD-4300-AFB6-5ECE85C3D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379" y="1772815"/>
            <a:ext cx="1224000" cy="12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2EEF4088-1D5A-4E0C-A3A2-5F62D99B042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40016" y="1772815"/>
            <a:ext cx="1224000" cy="12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r>
              <a:rPr lang="en-GB"/>
              <a:t>Add image by clicking on icon</a:t>
            </a:r>
            <a:endParaRPr lang="en-GB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CDF990D-921C-4E3C-AB18-4E57EC381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7644173" y="1772816"/>
            <a:ext cx="4032000" cy="2268000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E7168AD-AA3F-415C-94FC-210EA91758F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515380" y="4329100"/>
            <a:ext cx="1224000" cy="12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A8AC86E-A5CC-4C24-B039-76772D4379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919537" y="4329100"/>
            <a:ext cx="4032000" cy="2268000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0B6B2A32-CA34-4A16-A20F-78A2214FE5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240016" y="4329100"/>
            <a:ext cx="1224000" cy="12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FBB6EA2F-8EA5-419D-8550-63CBA16083E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7644173" y="4329100"/>
            <a:ext cx="4032000" cy="2268000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89542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82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11160090" cy="48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691008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Fullsize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7235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66" cy="6857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(with a dominant light background colour) by clicking on ic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E385643E-FFF1-437E-A814-446072C084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0965468" y="169129"/>
            <a:ext cx="963613" cy="176213"/>
          </a:xfrm>
          <a:blipFill>
            <a:blip r:embed="rId5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4940641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Fullsize Imag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428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66" cy="6857999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 (with a dominant dark background colour) by clicking on ic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0363889F-E632-442C-95AA-EDB9F0A37C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0965468" y="169129"/>
            <a:ext cx="963613" cy="176213"/>
          </a:xfrm>
          <a:blipFill>
            <a:blip r:embed="rId5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8412351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9122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E38182BB-B9FF-4DBB-9502-BE78E0D818D1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515380" y="2492895"/>
            <a:ext cx="11160000" cy="3888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chart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5F314F-31D2-4A0C-83F0-573E1E905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381" y="1772816"/>
            <a:ext cx="11160000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2pPr>
            <a:lvl3pPr marL="0" indent="0">
              <a:spcBef>
                <a:spcPts val="0"/>
              </a:spcBef>
              <a:buNone/>
              <a:defRPr sz="2000" b="1"/>
            </a:lvl3pPr>
            <a:lvl4pPr marL="0" indent="0">
              <a:spcBef>
                <a:spcPts val="0"/>
              </a:spcBef>
              <a:buNone/>
              <a:defRPr sz="2000" b="1"/>
            </a:lvl4pPr>
            <a:lvl5pPr marL="0" indent="0">
              <a:spcBef>
                <a:spcPts val="0"/>
              </a:spcBef>
              <a:buNone/>
              <a:defRPr sz="2000" b="1"/>
            </a:lvl5pPr>
            <a:lvl6pPr marL="0" indent="0">
              <a:spcBef>
                <a:spcPts val="0"/>
              </a:spcBef>
              <a:buNone/>
              <a:defRPr sz="2000" b="1"/>
            </a:lvl6pPr>
            <a:lvl7pPr marL="0" indent="0">
              <a:spcBef>
                <a:spcPts val="0"/>
              </a:spcBef>
              <a:buNone/>
              <a:defRPr sz="2000" b="1"/>
            </a:lvl7pPr>
            <a:lvl8pPr marL="0" indent="0">
              <a:spcBef>
                <a:spcPts val="0"/>
              </a:spcBef>
              <a:buNone/>
              <a:defRPr sz="2000" b="1"/>
            </a:lvl8pPr>
            <a:lvl9pPr marL="0" indent="0">
              <a:spcBef>
                <a:spcPts val="0"/>
              </a:spcBef>
              <a:buNone/>
              <a:defRPr sz="2000" b="1"/>
            </a:lvl9pPr>
          </a:lstStyle>
          <a:p>
            <a:pPr lvl="0"/>
            <a:r>
              <a:rPr lang="en-GB" noProof="0" dirty="0"/>
              <a:t>Click to edit chart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5D03ED8-9A15-4934-9D17-2B92EED7B9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515381" y="2096852"/>
            <a:ext cx="11160000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2pPr>
            <a:lvl3pPr marL="0" indent="0">
              <a:spcBef>
                <a:spcPts val="0"/>
              </a:spcBef>
              <a:buNone/>
              <a:defRPr sz="1800" b="0"/>
            </a:lvl3pPr>
            <a:lvl4pPr marL="0" indent="0">
              <a:spcBef>
                <a:spcPts val="0"/>
              </a:spcBef>
              <a:buNone/>
              <a:defRPr sz="1800" b="0"/>
            </a:lvl4pPr>
            <a:lvl5pPr marL="0" indent="0">
              <a:spcBef>
                <a:spcPts val="0"/>
              </a:spcBef>
              <a:buNone/>
              <a:defRPr sz="1800" b="0"/>
            </a:lvl5pPr>
            <a:lvl6pPr marL="0" indent="0">
              <a:spcBef>
                <a:spcPts val="0"/>
              </a:spcBef>
              <a:buNone/>
              <a:defRPr sz="1800" b="0"/>
            </a:lvl6pPr>
            <a:lvl7pPr marL="0" indent="0">
              <a:spcBef>
                <a:spcPts val="0"/>
              </a:spcBef>
              <a:buNone/>
              <a:defRPr sz="1800" b="0"/>
            </a:lvl7pPr>
            <a:lvl8pPr marL="0" indent="0">
              <a:spcBef>
                <a:spcPts val="0"/>
              </a:spcBef>
              <a:buNone/>
              <a:defRPr sz="1800" b="0"/>
            </a:lvl8pPr>
            <a:lvl9pPr marL="0" indent="0">
              <a:spcBef>
                <a:spcPts val="0"/>
              </a:spcBef>
              <a:buNone/>
              <a:defRPr sz="1800" b="0"/>
            </a:lvl9pPr>
          </a:lstStyle>
          <a:p>
            <a:pPr lvl="0"/>
            <a:r>
              <a:rPr lang="en-GB" noProof="0" dirty="0"/>
              <a:t>Click to edit unit measur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9D9BA41-88B6-479C-9ABD-FE3B3CD6F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515381" y="6474241"/>
            <a:ext cx="11160000" cy="12311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 noProof="0" dirty="0"/>
              <a:t>Click to edit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41597871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Chart (30/7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19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E38182BB-B9FF-4DBB-9502-BE78E0D818D1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4403725" y="2492895"/>
            <a:ext cx="7272302" cy="3888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/>
              <a:t>Add chart by clicking on icon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/>
              <a:t>Click to edit slide title (maximum two lines)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8" y="1772816"/>
            <a:ext cx="3385110" cy="4824834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5F314F-31D2-4A0C-83F0-573E1E905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4403726" y="1772816"/>
            <a:ext cx="7272302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2pPr>
            <a:lvl3pPr marL="0" indent="0">
              <a:spcBef>
                <a:spcPts val="0"/>
              </a:spcBef>
              <a:buNone/>
              <a:defRPr sz="2000" b="1"/>
            </a:lvl3pPr>
            <a:lvl4pPr marL="0" indent="0">
              <a:spcBef>
                <a:spcPts val="0"/>
              </a:spcBef>
              <a:buNone/>
              <a:defRPr sz="2000" b="1"/>
            </a:lvl4pPr>
            <a:lvl5pPr marL="0" indent="0">
              <a:spcBef>
                <a:spcPts val="0"/>
              </a:spcBef>
              <a:buNone/>
              <a:defRPr sz="2000" b="1"/>
            </a:lvl5pPr>
            <a:lvl6pPr marL="0" indent="0">
              <a:spcBef>
                <a:spcPts val="0"/>
              </a:spcBef>
              <a:buNone/>
              <a:defRPr sz="2000" b="1"/>
            </a:lvl6pPr>
            <a:lvl7pPr marL="0" indent="0">
              <a:spcBef>
                <a:spcPts val="0"/>
              </a:spcBef>
              <a:buNone/>
              <a:defRPr sz="2000" b="1"/>
            </a:lvl7pPr>
            <a:lvl8pPr marL="0" indent="0">
              <a:spcBef>
                <a:spcPts val="0"/>
              </a:spcBef>
              <a:buNone/>
              <a:defRPr sz="2000" b="1"/>
            </a:lvl8pPr>
            <a:lvl9pPr marL="0" indent="0">
              <a:spcBef>
                <a:spcPts val="0"/>
              </a:spcBef>
              <a:buNone/>
              <a:defRPr sz="2000" b="1"/>
            </a:lvl9pPr>
          </a:lstStyle>
          <a:p>
            <a:pPr lvl="0"/>
            <a:r>
              <a:rPr lang="en-GB" noProof="0"/>
              <a:t>Click to edit chart title</a:t>
            </a:r>
            <a:endParaRPr lang="en-GB" noProof="0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5D03ED8-9A15-4934-9D17-2B92EED7B9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403726" y="2096852"/>
            <a:ext cx="7272302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2pPr>
            <a:lvl3pPr marL="0" indent="0">
              <a:spcBef>
                <a:spcPts val="0"/>
              </a:spcBef>
              <a:buNone/>
              <a:defRPr sz="1800" b="0"/>
            </a:lvl3pPr>
            <a:lvl4pPr marL="0" indent="0">
              <a:spcBef>
                <a:spcPts val="0"/>
              </a:spcBef>
              <a:buNone/>
              <a:defRPr sz="1800" b="0"/>
            </a:lvl4pPr>
            <a:lvl5pPr marL="0" indent="0">
              <a:spcBef>
                <a:spcPts val="0"/>
              </a:spcBef>
              <a:buNone/>
              <a:defRPr sz="1800" b="0"/>
            </a:lvl5pPr>
            <a:lvl6pPr marL="0" indent="0">
              <a:spcBef>
                <a:spcPts val="0"/>
              </a:spcBef>
              <a:buNone/>
              <a:defRPr sz="1800" b="0"/>
            </a:lvl6pPr>
            <a:lvl7pPr marL="0" indent="0">
              <a:spcBef>
                <a:spcPts val="0"/>
              </a:spcBef>
              <a:buNone/>
              <a:defRPr sz="1800" b="0"/>
            </a:lvl7pPr>
            <a:lvl8pPr marL="0" indent="0">
              <a:spcBef>
                <a:spcPts val="0"/>
              </a:spcBef>
              <a:buNone/>
              <a:defRPr sz="1800" b="0"/>
            </a:lvl8pPr>
            <a:lvl9pPr marL="0" indent="0">
              <a:spcBef>
                <a:spcPts val="0"/>
              </a:spcBef>
              <a:buNone/>
              <a:defRPr sz="1800" b="0"/>
            </a:lvl9pPr>
          </a:lstStyle>
          <a:p>
            <a:pPr lvl="0"/>
            <a:r>
              <a:rPr lang="en-GB" noProof="0"/>
              <a:t>Click to edit unit measure</a:t>
            </a:r>
            <a:endParaRPr lang="en-GB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9D9BA41-88B6-479C-9ABD-FE3B3CD6F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403726" y="6474241"/>
            <a:ext cx="7272302" cy="12311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 noProof="0" dirty="0"/>
              <a:t>Click to edit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2602160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Chart (50/5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3328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E38182BB-B9FF-4DBB-9502-BE78E0D818D1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6348027" y="2492895"/>
            <a:ext cx="5328000" cy="3888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/>
              <a:t>Add chart by clicking on icon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/>
              <a:t>Click to edit slide title (maximum two lines)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8" y="1772816"/>
            <a:ext cx="5328000" cy="4824834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5F314F-31D2-4A0C-83F0-573E1E905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6348028" y="1772816"/>
            <a:ext cx="5328000" cy="3077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2pPr>
            <a:lvl3pPr marL="0" indent="0">
              <a:spcBef>
                <a:spcPts val="0"/>
              </a:spcBef>
              <a:buNone/>
              <a:defRPr sz="2000" b="1"/>
            </a:lvl3pPr>
            <a:lvl4pPr marL="0" indent="0">
              <a:spcBef>
                <a:spcPts val="0"/>
              </a:spcBef>
              <a:buNone/>
              <a:defRPr sz="2000" b="1"/>
            </a:lvl4pPr>
            <a:lvl5pPr marL="0" indent="0">
              <a:spcBef>
                <a:spcPts val="0"/>
              </a:spcBef>
              <a:buNone/>
              <a:defRPr sz="2000" b="1"/>
            </a:lvl5pPr>
            <a:lvl6pPr marL="0" indent="0">
              <a:spcBef>
                <a:spcPts val="0"/>
              </a:spcBef>
              <a:buNone/>
              <a:defRPr sz="2000" b="1"/>
            </a:lvl6pPr>
            <a:lvl7pPr marL="0" indent="0">
              <a:spcBef>
                <a:spcPts val="0"/>
              </a:spcBef>
              <a:buNone/>
              <a:defRPr sz="2000" b="1"/>
            </a:lvl7pPr>
            <a:lvl8pPr marL="0" indent="0">
              <a:spcBef>
                <a:spcPts val="0"/>
              </a:spcBef>
              <a:buNone/>
              <a:defRPr sz="2000" b="1"/>
            </a:lvl8pPr>
            <a:lvl9pPr marL="0" indent="0">
              <a:spcBef>
                <a:spcPts val="0"/>
              </a:spcBef>
              <a:buNone/>
              <a:defRPr sz="2000" b="1"/>
            </a:lvl9pPr>
          </a:lstStyle>
          <a:p>
            <a:pPr lvl="0"/>
            <a:r>
              <a:rPr lang="en-GB" noProof="0"/>
              <a:t>Click to edit chart title</a:t>
            </a:r>
            <a:endParaRPr lang="en-GB" noProof="0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5D03ED8-9A15-4934-9D17-2B92EED7B9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6348028" y="2096852"/>
            <a:ext cx="5328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2pPr>
            <a:lvl3pPr marL="0" indent="0">
              <a:spcBef>
                <a:spcPts val="0"/>
              </a:spcBef>
              <a:buNone/>
              <a:defRPr sz="1800" b="0"/>
            </a:lvl3pPr>
            <a:lvl4pPr marL="0" indent="0">
              <a:spcBef>
                <a:spcPts val="0"/>
              </a:spcBef>
              <a:buNone/>
              <a:defRPr sz="1800" b="0"/>
            </a:lvl4pPr>
            <a:lvl5pPr marL="0" indent="0">
              <a:spcBef>
                <a:spcPts val="0"/>
              </a:spcBef>
              <a:buNone/>
              <a:defRPr sz="1800" b="0"/>
            </a:lvl5pPr>
            <a:lvl6pPr marL="0" indent="0">
              <a:spcBef>
                <a:spcPts val="0"/>
              </a:spcBef>
              <a:buNone/>
              <a:defRPr sz="1800" b="0"/>
            </a:lvl6pPr>
            <a:lvl7pPr marL="0" indent="0">
              <a:spcBef>
                <a:spcPts val="0"/>
              </a:spcBef>
              <a:buNone/>
              <a:defRPr sz="1800" b="0"/>
            </a:lvl7pPr>
            <a:lvl8pPr marL="0" indent="0">
              <a:spcBef>
                <a:spcPts val="0"/>
              </a:spcBef>
              <a:buNone/>
              <a:defRPr sz="1800" b="0"/>
            </a:lvl8pPr>
            <a:lvl9pPr marL="0" indent="0">
              <a:spcBef>
                <a:spcPts val="0"/>
              </a:spcBef>
              <a:buNone/>
              <a:defRPr sz="1800" b="0"/>
            </a:lvl9pPr>
          </a:lstStyle>
          <a:p>
            <a:pPr lvl="0"/>
            <a:r>
              <a:rPr lang="en-GB" noProof="0"/>
              <a:t>Click to edit unit measure</a:t>
            </a:r>
            <a:endParaRPr lang="en-GB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9D9BA41-88B6-479C-9ABD-FE3B3CD6F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6348028" y="6474241"/>
            <a:ext cx="5328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 noProof="0" dirty="0"/>
              <a:t>Click to edit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672393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889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Grafik 10">
            <a:extLst>
              <a:ext uri="{FF2B5EF4-FFF2-40B4-BE49-F238E27FC236}">
                <a16:creationId xmlns:a16="http://schemas.microsoft.com/office/drawing/2014/main" id="{7268C43F-32BC-450D-93B7-E56687531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6000" y="-1"/>
            <a:ext cx="6096000" cy="6857999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E1007D18-CC7E-44B1-9EDD-D2E722995811}"/>
              </a:ext>
            </a:extLst>
          </p:cNvPr>
          <p:cNvGrpSpPr/>
          <p:nvPr userDrawn="1"/>
        </p:nvGrpSpPr>
        <p:grpSpPr bwMode="white">
          <a:xfrm>
            <a:off x="5334007" y="4"/>
            <a:ext cx="6857993" cy="6857993"/>
            <a:chOff x="5334007" y="4"/>
            <a:chExt cx="6857993" cy="6857993"/>
          </a:xfrm>
        </p:grpSpPr>
        <p:sp>
          <p:nvSpPr>
            <p:cNvPr id="26" name="Graphic 26">
              <a:extLst>
                <a:ext uri="{FF2B5EF4-FFF2-40B4-BE49-F238E27FC236}">
                  <a16:creationId xmlns:a16="http://schemas.microsoft.com/office/drawing/2014/main" id="{A1C1EA02-8ABE-49F9-B404-F8C1CD062086}"/>
                </a:ext>
              </a:extLst>
            </p:cNvPr>
            <p:cNvSpPr/>
            <p:nvPr/>
          </p:nvSpPr>
          <p:spPr bwMode="white">
            <a:xfrm>
              <a:off x="5745486" y="4"/>
              <a:ext cx="960119" cy="6857993"/>
            </a:xfrm>
            <a:custGeom>
              <a:avLst/>
              <a:gdLst>
                <a:gd name="connsiteX0" fmla="*/ 0 w 960119"/>
                <a:gd name="connsiteY0" fmla="*/ 0 h 6857993"/>
                <a:gd name="connsiteX1" fmla="*/ 960119 w 960119"/>
                <a:gd name="connsiteY1" fmla="*/ 0 h 6857993"/>
                <a:gd name="connsiteX2" fmla="*/ 960119 w 960119"/>
                <a:gd name="connsiteY2" fmla="*/ 6857993 h 6857993"/>
                <a:gd name="connsiteX3" fmla="*/ 0 w 9601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0119" h="6857993">
                  <a:moveTo>
                    <a:pt x="0" y="0"/>
                  </a:moveTo>
                  <a:lnTo>
                    <a:pt x="960119" y="0"/>
                  </a:lnTo>
                  <a:lnTo>
                    <a:pt x="9601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chemeClr val="bg1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Graphic 26">
              <a:extLst>
                <a:ext uri="{FF2B5EF4-FFF2-40B4-BE49-F238E27FC236}">
                  <a16:creationId xmlns:a16="http://schemas.microsoft.com/office/drawing/2014/main" id="{0ADDAEA4-8748-4D56-9E96-8B02EDED7599}"/>
                </a:ext>
              </a:extLst>
            </p:cNvPr>
            <p:cNvSpPr/>
            <p:nvPr/>
          </p:nvSpPr>
          <p:spPr bwMode="white">
            <a:xfrm>
              <a:off x="7345684" y="4"/>
              <a:ext cx="731519" cy="6857993"/>
            </a:xfrm>
            <a:custGeom>
              <a:avLst/>
              <a:gdLst>
                <a:gd name="connsiteX0" fmla="*/ 0 w 731519"/>
                <a:gd name="connsiteY0" fmla="*/ 0 h 6857993"/>
                <a:gd name="connsiteX1" fmla="*/ 731519 w 731519"/>
                <a:gd name="connsiteY1" fmla="*/ 0 h 6857993"/>
                <a:gd name="connsiteX2" fmla="*/ 731519 w 731519"/>
                <a:gd name="connsiteY2" fmla="*/ 6857993 h 6857993"/>
                <a:gd name="connsiteX3" fmla="*/ 0 w 7315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519" h="6857993">
                  <a:moveTo>
                    <a:pt x="0" y="0"/>
                  </a:moveTo>
                  <a:lnTo>
                    <a:pt x="731519" y="0"/>
                  </a:lnTo>
                  <a:lnTo>
                    <a:pt x="7315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chemeClr val="bg1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Graphic 26">
              <a:extLst>
                <a:ext uri="{FF2B5EF4-FFF2-40B4-BE49-F238E27FC236}">
                  <a16:creationId xmlns:a16="http://schemas.microsoft.com/office/drawing/2014/main" id="{4133EB4C-D6E3-4DA7-AF52-5E3655FE2C45}"/>
                </a:ext>
              </a:extLst>
            </p:cNvPr>
            <p:cNvSpPr/>
            <p:nvPr/>
          </p:nvSpPr>
          <p:spPr bwMode="white">
            <a:xfrm>
              <a:off x="8968743" y="4"/>
              <a:ext cx="480059" cy="6857993"/>
            </a:xfrm>
            <a:custGeom>
              <a:avLst/>
              <a:gdLst>
                <a:gd name="connsiteX0" fmla="*/ 0 w 480059"/>
                <a:gd name="connsiteY0" fmla="*/ 0 h 6857993"/>
                <a:gd name="connsiteX1" fmla="*/ 480060 w 480059"/>
                <a:gd name="connsiteY1" fmla="*/ 0 h 6857993"/>
                <a:gd name="connsiteX2" fmla="*/ 480060 w 480059"/>
                <a:gd name="connsiteY2" fmla="*/ 6857993 h 6857993"/>
                <a:gd name="connsiteX3" fmla="*/ 0 w 4800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9" h="6857993">
                  <a:moveTo>
                    <a:pt x="0" y="0"/>
                  </a:moveTo>
                  <a:lnTo>
                    <a:pt x="480060" y="0"/>
                  </a:lnTo>
                  <a:lnTo>
                    <a:pt x="4800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chemeClr val="bg1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Graphic 26">
              <a:extLst>
                <a:ext uri="{FF2B5EF4-FFF2-40B4-BE49-F238E27FC236}">
                  <a16:creationId xmlns:a16="http://schemas.microsoft.com/office/drawing/2014/main" id="{DDC787A1-9B9E-46CA-B5C0-C5811882A12A}"/>
                </a:ext>
              </a:extLst>
            </p:cNvPr>
            <p:cNvSpPr/>
            <p:nvPr/>
          </p:nvSpPr>
          <p:spPr bwMode="white">
            <a:xfrm>
              <a:off x="10568941" y="4"/>
              <a:ext cx="251459" cy="6857993"/>
            </a:xfrm>
            <a:custGeom>
              <a:avLst/>
              <a:gdLst>
                <a:gd name="connsiteX0" fmla="*/ 0 w 251459"/>
                <a:gd name="connsiteY0" fmla="*/ 0 h 6857993"/>
                <a:gd name="connsiteX1" fmla="*/ 251460 w 251459"/>
                <a:gd name="connsiteY1" fmla="*/ 0 h 6857993"/>
                <a:gd name="connsiteX2" fmla="*/ 251460 w 251459"/>
                <a:gd name="connsiteY2" fmla="*/ 6857993 h 6857993"/>
                <a:gd name="connsiteX3" fmla="*/ 0 w 2514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59" h="6857993">
                  <a:moveTo>
                    <a:pt x="0" y="0"/>
                  </a:moveTo>
                  <a:lnTo>
                    <a:pt x="251460" y="0"/>
                  </a:lnTo>
                  <a:lnTo>
                    <a:pt x="2514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chemeClr val="bg1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Graphic 26">
              <a:extLst>
                <a:ext uri="{FF2B5EF4-FFF2-40B4-BE49-F238E27FC236}">
                  <a16:creationId xmlns:a16="http://schemas.microsoft.com/office/drawing/2014/main" id="{5243378D-8DAD-4DE2-BC46-2DC2B339D410}"/>
                </a:ext>
              </a:extLst>
            </p:cNvPr>
            <p:cNvSpPr/>
            <p:nvPr/>
          </p:nvSpPr>
          <p:spPr bwMode="white">
            <a:xfrm>
              <a:off x="5334007" y="4"/>
              <a:ext cx="6857993" cy="6857993"/>
            </a:xfrm>
            <a:custGeom>
              <a:avLst/>
              <a:gdLst>
                <a:gd name="connsiteX0" fmla="*/ 0 w 6857993"/>
                <a:gd name="connsiteY0" fmla="*/ 0 h 6857993"/>
                <a:gd name="connsiteX1" fmla="*/ 6857993 w 6857993"/>
                <a:gd name="connsiteY1" fmla="*/ 0 h 6857993"/>
                <a:gd name="connsiteX2" fmla="*/ 6857993 w 6857993"/>
                <a:gd name="connsiteY2" fmla="*/ 6857993 h 6857993"/>
                <a:gd name="connsiteX3" fmla="*/ 0 w 6857993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3" h="6857993">
                  <a:moveTo>
                    <a:pt x="0" y="0"/>
                  </a:moveTo>
                  <a:lnTo>
                    <a:pt x="6857993" y="0"/>
                  </a:lnTo>
                  <a:lnTo>
                    <a:pt x="6857993" y="6857993"/>
                  </a:lnTo>
                  <a:lnTo>
                    <a:pt x="0" y="6857993"/>
                  </a:lnTo>
                  <a:close/>
                </a:path>
              </a:pathLst>
            </a:custGeom>
            <a:noFill/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Name Surname (optional)</a:t>
            </a:r>
            <a:endParaRPr lang="en-US" noProof="0" dirty="0" err="1"/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39353AF3-BF02-4A9C-8C74-74A0B4BCD9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6602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1261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Chart (70/3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613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E38182BB-B9FF-4DBB-9502-BE78E0D818D1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8291513" y="2492895"/>
            <a:ext cx="3384514" cy="3888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chart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7" y="1772816"/>
            <a:ext cx="7272897" cy="4824834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5F314F-31D2-4A0C-83F0-573E1E905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8291514" y="1772816"/>
            <a:ext cx="3384514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2pPr>
            <a:lvl3pPr marL="0" indent="0">
              <a:spcBef>
                <a:spcPts val="0"/>
              </a:spcBef>
              <a:buNone/>
              <a:defRPr sz="2000" b="1"/>
            </a:lvl3pPr>
            <a:lvl4pPr marL="0" indent="0">
              <a:spcBef>
                <a:spcPts val="0"/>
              </a:spcBef>
              <a:buNone/>
              <a:defRPr sz="2000" b="1"/>
            </a:lvl4pPr>
            <a:lvl5pPr marL="0" indent="0">
              <a:spcBef>
                <a:spcPts val="0"/>
              </a:spcBef>
              <a:buNone/>
              <a:defRPr sz="2000" b="1"/>
            </a:lvl5pPr>
            <a:lvl6pPr marL="0" indent="0">
              <a:spcBef>
                <a:spcPts val="0"/>
              </a:spcBef>
              <a:buNone/>
              <a:defRPr sz="2000" b="1"/>
            </a:lvl6pPr>
            <a:lvl7pPr marL="0" indent="0">
              <a:spcBef>
                <a:spcPts val="0"/>
              </a:spcBef>
              <a:buNone/>
              <a:defRPr sz="2000" b="1"/>
            </a:lvl7pPr>
            <a:lvl8pPr marL="0" indent="0">
              <a:spcBef>
                <a:spcPts val="0"/>
              </a:spcBef>
              <a:buNone/>
              <a:defRPr sz="2000" b="1"/>
            </a:lvl8pPr>
            <a:lvl9pPr marL="0" indent="0">
              <a:spcBef>
                <a:spcPts val="0"/>
              </a:spcBef>
              <a:buNone/>
              <a:defRPr sz="2000" b="1"/>
            </a:lvl9pPr>
          </a:lstStyle>
          <a:p>
            <a:pPr lvl="0"/>
            <a:r>
              <a:rPr lang="en-GB" noProof="0"/>
              <a:t>Click to edit chart title</a:t>
            </a:r>
            <a:endParaRPr lang="en-GB" noProof="0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5D03ED8-9A15-4934-9D17-2B92EED7B9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8291514" y="2096852"/>
            <a:ext cx="3384514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2pPr>
            <a:lvl3pPr marL="0" indent="0">
              <a:spcBef>
                <a:spcPts val="0"/>
              </a:spcBef>
              <a:buNone/>
              <a:defRPr sz="1800" b="0"/>
            </a:lvl3pPr>
            <a:lvl4pPr marL="0" indent="0">
              <a:spcBef>
                <a:spcPts val="0"/>
              </a:spcBef>
              <a:buNone/>
              <a:defRPr sz="1800" b="0"/>
            </a:lvl4pPr>
            <a:lvl5pPr marL="0" indent="0">
              <a:spcBef>
                <a:spcPts val="0"/>
              </a:spcBef>
              <a:buNone/>
              <a:defRPr sz="1800" b="0"/>
            </a:lvl5pPr>
            <a:lvl6pPr marL="0" indent="0">
              <a:spcBef>
                <a:spcPts val="0"/>
              </a:spcBef>
              <a:buNone/>
              <a:defRPr sz="1800" b="0"/>
            </a:lvl6pPr>
            <a:lvl7pPr marL="0" indent="0">
              <a:spcBef>
                <a:spcPts val="0"/>
              </a:spcBef>
              <a:buNone/>
              <a:defRPr sz="1800" b="0"/>
            </a:lvl7pPr>
            <a:lvl8pPr marL="0" indent="0">
              <a:spcBef>
                <a:spcPts val="0"/>
              </a:spcBef>
              <a:buNone/>
              <a:defRPr sz="1800" b="0"/>
            </a:lvl8pPr>
            <a:lvl9pPr marL="0" indent="0">
              <a:spcBef>
                <a:spcPts val="0"/>
              </a:spcBef>
              <a:buNone/>
              <a:defRPr sz="1800" b="0"/>
            </a:lvl9pPr>
          </a:lstStyle>
          <a:p>
            <a:pPr lvl="0"/>
            <a:r>
              <a:rPr lang="en-GB" noProof="0"/>
              <a:t>Click to edit unit measure</a:t>
            </a:r>
            <a:endParaRPr lang="en-GB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9D9BA41-88B6-479C-9ABD-FE3B3CD6F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8291514" y="6474241"/>
            <a:ext cx="3384514" cy="12311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 noProof="0" dirty="0"/>
              <a:t>Click to edit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5010167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Quot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F4E7F0C-6CB4-40E1-9FE1-D5F3B360C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455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F4E7F0C-6CB4-40E1-9FE1-D5F3B360C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0E48D3-1E25-42EF-B8C3-B4D8B3038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040967"/>
            <a:ext cx="11160000" cy="1828193"/>
          </a:xfrm>
        </p:spPr>
        <p:txBody>
          <a:bodyPr vert="horz" anchor="b"/>
          <a:lstStyle>
            <a:lvl1pPr algn="l"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dirty="0"/>
              <a:t>“Click to edit quote (can be several lines long)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FAD490-316D-40E9-AE5B-69452AB78B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B1F86CC8-CE41-49E8-9E6F-52A82D66AB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9" y="6289575"/>
            <a:ext cx="7272896" cy="3077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GB" noProof="0" dirty="0"/>
              <a:t>Click to edit author/source (optional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16758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Quot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A2F8EEA3-1EFC-4BD2-B907-24C54747A3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35000"/>
            <a:ext cx="12192000" cy="812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F4E7F0C-6CB4-40E1-9FE1-D5F3B360C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107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F4E7F0C-6CB4-40E1-9FE1-D5F3B360C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0E48D3-1E25-42EF-B8C3-B4D8B3038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040967"/>
            <a:ext cx="11160000" cy="1828193"/>
          </a:xfrm>
        </p:spPr>
        <p:txBody>
          <a:bodyPr vert="horz" anchor="b"/>
          <a:lstStyle>
            <a:lvl1pPr algn="l">
              <a:defRPr sz="6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“Click to edit quote (can be several lines long)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FAD490-316D-40E9-AE5B-69452AB78B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4DAC277B-091D-4B8A-89DC-26FCB4E745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9" y="6289575"/>
            <a:ext cx="7272896" cy="3077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edit author/source (optional)</a:t>
            </a:r>
            <a:endParaRPr lang="en-GB" dirty="0"/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AA14A53D-978A-4C28-9F8E-2749E4256C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7259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Quot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F4E7F0C-6CB4-40E1-9FE1-D5F3B360C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107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F4E7F0C-6CB4-40E1-9FE1-D5F3B360C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63216034-F274-439C-A42F-DD2D19B902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-600" y="0"/>
            <a:ext cx="121932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662A99F-A6E5-4155-95CE-64D59EF23EC6}"/>
              </a:ext>
            </a:extLst>
          </p:cNvPr>
          <p:cNvSpPr/>
          <p:nvPr userDrawn="1"/>
        </p:nvSpPr>
        <p:spPr bwMode="hidden">
          <a:xfrm>
            <a:off x="0" y="0"/>
            <a:ext cx="12193200" cy="6858000"/>
          </a:xfrm>
          <a:prstGeom prst="rect">
            <a:avLst/>
          </a:prstGeom>
          <a:solidFill>
            <a:srgbClr val="1345F0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regular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0E48D3-1E25-42EF-B8C3-B4D8B3038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040967"/>
            <a:ext cx="11160000" cy="1828193"/>
          </a:xfrm>
        </p:spPr>
        <p:txBody>
          <a:bodyPr vert="horz" anchor="b"/>
          <a:lstStyle>
            <a:lvl1pPr algn="l">
              <a:defRPr sz="6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“Click to edit quote (can be several lines long)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FAD490-316D-40E9-AE5B-69452AB78B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4DAC277B-091D-4B8A-89DC-26FCB4E745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9" y="6289575"/>
            <a:ext cx="7272896" cy="3077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edit author/source (optional)</a:t>
            </a:r>
            <a:endParaRPr lang="en-GB" dirty="0"/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AA14A53D-978A-4C28-9F8E-2749E4256C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7340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Quote (with Ic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F4E7F0C-6CB4-40E1-9FE1-D5F3B360C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0253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F4E7F0C-6CB4-40E1-9FE1-D5F3B360C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0E48D3-1E25-42EF-B8C3-B4D8B3038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403725" y="1767007"/>
            <a:ext cx="7271654" cy="3323987"/>
          </a:xfrm>
        </p:spPr>
        <p:txBody>
          <a:bodyPr vert="horz" anchor="b"/>
          <a:lstStyle>
            <a:lvl1pPr algn="l">
              <a:defRPr sz="6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dirty="0"/>
              <a:t>“Click to edit quote (can be several lines long)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FAD490-316D-40E9-AE5B-69452AB78B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69C50B-E710-40D1-ABCB-57BD9EAB0AC9}"/>
              </a:ext>
            </a:extLst>
          </p:cNvPr>
          <p:cNvSpPr/>
          <p:nvPr userDrawn="1"/>
        </p:nvSpPr>
        <p:spPr bwMode="ltGray">
          <a:xfrm>
            <a:off x="0" y="0"/>
            <a:ext cx="39004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Text Placeholder 27">
            <a:extLst>
              <a:ext uri="{FF2B5EF4-FFF2-40B4-BE49-F238E27FC236}">
                <a16:creationId xmlns:a16="http://schemas.microsoft.com/office/drawing/2014/main" id="{94558363-9437-4093-B280-E64A89FC07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402483" y="6289575"/>
            <a:ext cx="7272896" cy="3077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GB" noProof="0" dirty="0"/>
              <a:t>Click to edit author/source (optional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8615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ontact Slide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5199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714849AF-D6D9-4611-826B-67A7BCB4F1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403812" y="1779282"/>
            <a:ext cx="7272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788FE16-8869-4E53-85B6-F4C9227F6F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403812" y="2187602"/>
            <a:ext cx="7272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D93342E6-D26D-44FB-94CC-8C52C154EE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4403812" y="4916758"/>
            <a:ext cx="7272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9F684DF1-0A82-4907-8BAE-82713E537B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4403812" y="5360467"/>
            <a:ext cx="7272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439BB819-4AA7-487F-A5C2-B3FC1F93E3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4403812" y="5804176"/>
            <a:ext cx="7272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24C76F3B-1675-41E2-93DD-75CC90BDAD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4059898" y="4923981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7418B113-14F0-4FED-87FB-F49780B1F1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4059557" y="5368483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15927F0A-90D2-4F88-991A-9CD95E07BD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4059557" y="5812192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581700AF-975D-44A8-B98E-2D45CE414246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725" y="6276973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3384000" cy="45144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2710825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ontact Slide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127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714849AF-D6D9-4611-826B-67A7BCB4F1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403812" y="1843016"/>
            <a:ext cx="7272000" cy="18466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788FE16-8869-4E53-85B6-F4C9227F6F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403812" y="2107686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D93342E6-D26D-44FB-94CC-8C52C154EE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4403812" y="3045545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9F684DF1-0A82-4907-8BAE-82713E537B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4403812" y="3389543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439BB819-4AA7-487F-A5C2-B3FC1F93E3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4403812" y="3733800"/>
            <a:ext cx="7272000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24C76F3B-1675-41E2-93DD-75CC90BDAD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4059898" y="3013870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7418B113-14F0-4FED-87FB-F49780B1F1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4059557" y="3359151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15927F0A-90D2-4F88-991A-9CD95E07BD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4059557" y="3703638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581700AF-975D-44A8-B98E-2D45CE414246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725" y="4098612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38" name="Straight Connector 2">
            <a:extLst>
              <a:ext uri="{FF2B5EF4-FFF2-40B4-BE49-F238E27FC236}">
                <a16:creationId xmlns:a16="http://schemas.microsoft.com/office/drawing/2014/main" id="{F293AAB1-282E-4088-B1FA-AB0A9FE6515B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041" y="6587476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524A79BD-69FE-418F-B30D-7FCF26048DC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 bwMode="black">
          <a:xfrm>
            <a:off x="4403812" y="4345699"/>
            <a:ext cx="7272000" cy="18466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4B7C2E4F-F306-4566-8DFF-0530F3AA3EF2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 bwMode="black">
          <a:xfrm>
            <a:off x="4403812" y="4610369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D951F51C-1FCE-4DF7-88E0-82F9A24448E0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 bwMode="black">
          <a:xfrm>
            <a:off x="4403812" y="5548228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AE9C51A7-FB20-46C8-A86E-7F0637F15BA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 bwMode="black">
          <a:xfrm>
            <a:off x="4403812" y="5892800"/>
            <a:ext cx="7272000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027D1AC8-22CA-4F6D-A6AC-D098F73F364A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 bwMode="black">
          <a:xfrm>
            <a:off x="4403812" y="6236223"/>
            <a:ext cx="7272000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A6054C65-A83D-43C8-8691-1F79EDB977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black">
          <a:xfrm>
            <a:off x="4059898" y="5517358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53291BC7-5E96-48E0-A3A2-DFCF1E0C0A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black">
          <a:xfrm>
            <a:off x="4059557" y="5862638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0" name="Text Placeholder 17">
            <a:extLst>
              <a:ext uri="{FF2B5EF4-FFF2-40B4-BE49-F238E27FC236}">
                <a16:creationId xmlns:a16="http://schemas.microsoft.com/office/drawing/2014/main" id="{B2B20EE7-5FCF-4745-859C-88BAC927AE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black">
          <a:xfrm>
            <a:off x="4059557" y="6205538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4" name="Picture Placeholder 8">
            <a:extLst>
              <a:ext uri="{FF2B5EF4-FFF2-40B4-BE49-F238E27FC236}">
                <a16:creationId xmlns:a16="http://schemas.microsoft.com/office/drawing/2014/main" id="{F2A5DD2D-9395-40D4-818A-A6356F4A81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15938" y="4275921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697572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ontact Slide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77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38" name="Straight Connector 2">
            <a:extLst>
              <a:ext uri="{FF2B5EF4-FFF2-40B4-BE49-F238E27FC236}">
                <a16:creationId xmlns:a16="http://schemas.microsoft.com/office/drawing/2014/main" id="{F293AAB1-282E-4088-B1FA-AB0A9FE6515B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938" y="6587476"/>
            <a:ext cx="3384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524A79BD-69FE-418F-B30D-7FCF26048D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515938" y="4345699"/>
            <a:ext cx="338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4B7C2E4F-F306-4566-8DFF-0530F3AA3E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515938" y="4610369"/>
            <a:ext cx="338400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D951F51C-1FCE-4DF7-88E0-82F9A24448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859635" y="5548228"/>
            <a:ext cx="3040853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AE9C51A7-FB20-46C8-A86E-7F0637F15BA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black">
          <a:xfrm>
            <a:off x="859635" y="5892800"/>
            <a:ext cx="3040853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027D1AC8-22CA-4F6D-A6AC-D098F73F36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black">
          <a:xfrm>
            <a:off x="859635" y="6236223"/>
            <a:ext cx="3040853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A6054C65-A83D-43C8-8691-1F79EDB977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black">
          <a:xfrm>
            <a:off x="515721" y="5517358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53291BC7-5E96-48E0-A3A2-DFCF1E0C0A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black">
          <a:xfrm>
            <a:off x="515380" y="5862638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0" name="Text Placeholder 17">
            <a:extLst>
              <a:ext uri="{FF2B5EF4-FFF2-40B4-BE49-F238E27FC236}">
                <a16:creationId xmlns:a16="http://schemas.microsoft.com/office/drawing/2014/main" id="{B2B20EE7-5FCF-4745-859C-88BAC927AE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black">
          <a:xfrm>
            <a:off x="515380" y="6205538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E7B1A539-41E6-4899-9E8A-6C2D6B474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black">
          <a:xfrm>
            <a:off x="4403725" y="4345699"/>
            <a:ext cx="338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D1C5042F-CA17-40C8-A36D-8174D0FDB1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4403725" y="4610369"/>
            <a:ext cx="338400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E226BB61-3E4A-4154-B357-3E796A32656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4747335" y="5548228"/>
            <a:ext cx="3040853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C94DBB3E-0582-4F42-AAC5-76A3C0B35A3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black">
          <a:xfrm>
            <a:off x="4747335" y="5892800"/>
            <a:ext cx="3040853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0E35818F-E8FC-496D-9391-9D836E589D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black">
          <a:xfrm>
            <a:off x="4747335" y="6236223"/>
            <a:ext cx="3040853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53" name="Text Placeholder 17">
            <a:extLst>
              <a:ext uri="{FF2B5EF4-FFF2-40B4-BE49-F238E27FC236}">
                <a16:creationId xmlns:a16="http://schemas.microsoft.com/office/drawing/2014/main" id="{39C56199-5C64-4666-A8B6-2CB0786FD1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black">
          <a:xfrm>
            <a:off x="4403812" y="5517358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5" name="Text Placeholder 17">
            <a:extLst>
              <a:ext uri="{FF2B5EF4-FFF2-40B4-BE49-F238E27FC236}">
                <a16:creationId xmlns:a16="http://schemas.microsoft.com/office/drawing/2014/main" id="{14DBB32B-8DAA-4B7D-8BDB-1FA1FD8E87B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black">
          <a:xfrm>
            <a:off x="4403812" y="5862638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6" name="Text Placeholder 17">
            <a:extLst>
              <a:ext uri="{FF2B5EF4-FFF2-40B4-BE49-F238E27FC236}">
                <a16:creationId xmlns:a16="http://schemas.microsoft.com/office/drawing/2014/main" id="{038FAD7C-F47D-4C1C-8ABE-EEFA82B560A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black">
          <a:xfrm>
            <a:off x="4403812" y="6205538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cxnSp>
        <p:nvCxnSpPr>
          <p:cNvPr id="57" name="Straight Connector 2">
            <a:extLst>
              <a:ext uri="{FF2B5EF4-FFF2-40B4-BE49-F238E27FC236}">
                <a16:creationId xmlns:a16="http://schemas.microsoft.com/office/drawing/2014/main" id="{373D74FF-0527-4E2E-857D-370F071B02C9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725" y="6587476"/>
            <a:ext cx="3384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Picture Placeholder 8">
            <a:extLst>
              <a:ext uri="{FF2B5EF4-FFF2-40B4-BE49-F238E27FC236}">
                <a16:creationId xmlns:a16="http://schemas.microsoft.com/office/drawing/2014/main" id="{DF5181F0-F6C8-4EA3-9E32-1B493E42676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4403725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E38352F6-0533-4456-8DE5-FAAFBBF170B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black">
          <a:xfrm>
            <a:off x="8292244" y="4345699"/>
            <a:ext cx="338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A5036878-0066-4A6D-A462-D9A820A735E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black">
          <a:xfrm>
            <a:off x="8292244" y="4610369"/>
            <a:ext cx="338400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FA662FCD-B26A-4BD5-8B2F-E97BB2EC8F1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black">
          <a:xfrm>
            <a:off x="8636500" y="5548228"/>
            <a:ext cx="3040853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62" name="Text Placeholder 17">
            <a:extLst>
              <a:ext uri="{FF2B5EF4-FFF2-40B4-BE49-F238E27FC236}">
                <a16:creationId xmlns:a16="http://schemas.microsoft.com/office/drawing/2014/main" id="{F6227328-6629-41BC-928A-18CE3BEBE1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black">
          <a:xfrm>
            <a:off x="8636500" y="5892800"/>
            <a:ext cx="3040853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A31DB24E-3465-4A79-99DB-B4C03978F63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black">
          <a:xfrm>
            <a:off x="8636500" y="6236223"/>
            <a:ext cx="3040853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64" name="Text Placeholder 17">
            <a:extLst>
              <a:ext uri="{FF2B5EF4-FFF2-40B4-BE49-F238E27FC236}">
                <a16:creationId xmlns:a16="http://schemas.microsoft.com/office/drawing/2014/main" id="{D3484D72-6707-40DD-99E1-D84985E9F64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black">
          <a:xfrm>
            <a:off x="8292244" y="5517358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B8DC21E1-5EA1-4DA0-B9F2-16B46A5EADD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black">
          <a:xfrm>
            <a:off x="8292244" y="5862638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66" name="Text Placeholder 17">
            <a:extLst>
              <a:ext uri="{FF2B5EF4-FFF2-40B4-BE49-F238E27FC236}">
                <a16:creationId xmlns:a16="http://schemas.microsoft.com/office/drawing/2014/main" id="{ECF299D6-4830-4573-B483-D85F81E8669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black">
          <a:xfrm>
            <a:off x="8292244" y="6205538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67" name="Picture Placeholder 8">
            <a:extLst>
              <a:ext uri="{FF2B5EF4-FFF2-40B4-BE49-F238E27FC236}">
                <a16:creationId xmlns:a16="http://schemas.microsoft.com/office/drawing/2014/main" id="{ECB0BCA4-7CE7-4F06-A0CD-A3D58573391C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 bwMode="gray">
          <a:xfrm>
            <a:off x="8292244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68" name="Straight Connector 2">
            <a:extLst>
              <a:ext uri="{FF2B5EF4-FFF2-40B4-BE49-F238E27FC236}">
                <a16:creationId xmlns:a16="http://schemas.microsoft.com/office/drawing/2014/main" id="{F3122F66-B955-470F-ABA9-FB99F5FED427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8292244" y="6587476"/>
            <a:ext cx="3384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28620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ontact Slide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929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714849AF-D6D9-4611-826B-67A7BCB4F1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3323972" y="1843016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788FE16-8869-4E53-85B6-F4C9227F6F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323972" y="2107686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D93342E6-D26D-44FB-94CC-8C52C154EE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3323972" y="2875992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9F684DF1-0A82-4907-8BAE-82713E537B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3323972" y="3219990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439BB819-4AA7-487F-A5C2-B3FC1F93E3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3323972" y="3564247"/>
            <a:ext cx="2520000" cy="33855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24C76F3B-1675-41E2-93DD-75CC90BDAD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2980058" y="2844317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7418B113-14F0-4FED-87FB-F49780B1F1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2979717" y="3189598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15927F0A-90D2-4F88-991A-9CD95E07BD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2979717" y="3534085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581700AF-975D-44A8-B98E-2D45CE414246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323885" y="4098612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38" name="Straight Connector 2">
            <a:extLst>
              <a:ext uri="{FF2B5EF4-FFF2-40B4-BE49-F238E27FC236}">
                <a16:creationId xmlns:a16="http://schemas.microsoft.com/office/drawing/2014/main" id="{F293AAB1-282E-4088-B1FA-AB0A9FE6515B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323201" y="6587476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524A79BD-69FE-418F-B30D-7FCF26048DC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 bwMode="black">
          <a:xfrm>
            <a:off x="3323972" y="4345699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4B7C2E4F-F306-4566-8DFF-0530F3AA3EF2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 bwMode="black">
          <a:xfrm>
            <a:off x="3323972" y="4610369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D951F51C-1FCE-4DF7-88E0-82F9A24448E0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 bwMode="black">
          <a:xfrm>
            <a:off x="3323972" y="5378675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AE9C51A7-FB20-46C8-A86E-7F0637F15BA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 bwMode="black">
          <a:xfrm>
            <a:off x="3323972" y="5723247"/>
            <a:ext cx="2520000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027D1AC8-22CA-4F6D-A6AC-D098F73F364A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 bwMode="black">
          <a:xfrm>
            <a:off x="3323972" y="6066670"/>
            <a:ext cx="2520000" cy="33855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A6054C65-A83D-43C8-8691-1F79EDB977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black">
          <a:xfrm>
            <a:off x="2980058" y="5347805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53291BC7-5E96-48E0-A3A2-DFCF1E0C0A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black">
          <a:xfrm>
            <a:off x="2979717" y="5693085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0" name="Text Placeholder 17">
            <a:extLst>
              <a:ext uri="{FF2B5EF4-FFF2-40B4-BE49-F238E27FC236}">
                <a16:creationId xmlns:a16="http://schemas.microsoft.com/office/drawing/2014/main" id="{B2B20EE7-5FCF-4745-859C-88BAC927AE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black">
          <a:xfrm>
            <a:off x="2979717" y="6035985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4" name="Picture Placeholder 8">
            <a:extLst>
              <a:ext uri="{FF2B5EF4-FFF2-40B4-BE49-F238E27FC236}">
                <a16:creationId xmlns:a16="http://schemas.microsoft.com/office/drawing/2014/main" id="{F2A5DD2D-9395-40D4-818A-A6356F4A81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15938" y="4275921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045151F-1DA1-4FB0-B142-F656633D2F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9156620" y="1843016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68E45868-6CCD-4D5B-A2FC-623E1A02CF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9156620" y="2107686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464D9D7C-7B9D-4942-AB1D-04C2CB714B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black">
          <a:xfrm>
            <a:off x="9156620" y="2875992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A5EB138D-075B-4CD1-8589-ECCF9065AFE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black">
          <a:xfrm>
            <a:off x="9156620" y="3219990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51" name="Text Placeholder 17">
            <a:extLst>
              <a:ext uri="{FF2B5EF4-FFF2-40B4-BE49-F238E27FC236}">
                <a16:creationId xmlns:a16="http://schemas.microsoft.com/office/drawing/2014/main" id="{E53888BD-DF49-46EB-846A-A431C7A6B39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black">
          <a:xfrm>
            <a:off x="9156620" y="3564247"/>
            <a:ext cx="2520000" cy="33855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53" name="Text Placeholder 17">
            <a:extLst>
              <a:ext uri="{FF2B5EF4-FFF2-40B4-BE49-F238E27FC236}">
                <a16:creationId xmlns:a16="http://schemas.microsoft.com/office/drawing/2014/main" id="{2F92EA25-A31B-4CD5-BD9E-17F00355003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black">
          <a:xfrm>
            <a:off x="8812706" y="2844317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5" name="Text Placeholder 17">
            <a:extLst>
              <a:ext uri="{FF2B5EF4-FFF2-40B4-BE49-F238E27FC236}">
                <a16:creationId xmlns:a16="http://schemas.microsoft.com/office/drawing/2014/main" id="{A5F9A24C-3CAC-4728-B641-EF254FE12A7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black">
          <a:xfrm>
            <a:off x="8812365" y="3189598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6" name="Text Placeholder 17">
            <a:extLst>
              <a:ext uri="{FF2B5EF4-FFF2-40B4-BE49-F238E27FC236}">
                <a16:creationId xmlns:a16="http://schemas.microsoft.com/office/drawing/2014/main" id="{7BB39E2D-55D3-4365-BD0B-84C1E92C879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black">
          <a:xfrm>
            <a:off x="8812365" y="3534085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cxnSp>
        <p:nvCxnSpPr>
          <p:cNvPr id="57" name="Straight Connector 2">
            <a:extLst>
              <a:ext uri="{FF2B5EF4-FFF2-40B4-BE49-F238E27FC236}">
                <a16:creationId xmlns:a16="http://schemas.microsoft.com/office/drawing/2014/main" id="{5FFB81B0-7062-4D48-AB46-3449B85BB8A5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9156533" y="4098612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Picture Placeholder 8">
            <a:extLst>
              <a:ext uri="{FF2B5EF4-FFF2-40B4-BE49-F238E27FC236}">
                <a16:creationId xmlns:a16="http://schemas.microsoft.com/office/drawing/2014/main" id="{4B8E8304-E952-4F0B-8E5B-2DED14E148E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6348586" y="1772815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59" name="Straight Connector 2">
            <a:extLst>
              <a:ext uri="{FF2B5EF4-FFF2-40B4-BE49-F238E27FC236}">
                <a16:creationId xmlns:a16="http://schemas.microsoft.com/office/drawing/2014/main" id="{3B075C98-FFB4-4E4F-802A-8D6E1870BE30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9155849" y="6587476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12659612-8CFD-40FE-8E32-625C4EC584A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black">
          <a:xfrm>
            <a:off x="9156620" y="4345699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93EFBD9C-EB03-4073-9138-CBB7697737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black">
          <a:xfrm>
            <a:off x="9156620" y="4610369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62" name="Text Placeholder 17">
            <a:extLst>
              <a:ext uri="{FF2B5EF4-FFF2-40B4-BE49-F238E27FC236}">
                <a16:creationId xmlns:a16="http://schemas.microsoft.com/office/drawing/2014/main" id="{EE3A9937-6322-431B-B372-DE27E949861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black">
          <a:xfrm>
            <a:off x="9156620" y="5378675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F56BFEF-FC00-4916-A547-DE26B786499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black">
          <a:xfrm>
            <a:off x="9156620" y="5723247"/>
            <a:ext cx="2520000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64" name="Text Placeholder 17">
            <a:extLst>
              <a:ext uri="{FF2B5EF4-FFF2-40B4-BE49-F238E27FC236}">
                <a16:creationId xmlns:a16="http://schemas.microsoft.com/office/drawing/2014/main" id="{0FDF1F27-1FE3-4D45-A369-EE20B8F50B3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black">
          <a:xfrm>
            <a:off x="9156620" y="6066670"/>
            <a:ext cx="2520000" cy="33855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B86D375-0E39-4AAB-B9EA-9F25028AA09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black">
          <a:xfrm>
            <a:off x="8812706" y="5347805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66" name="Text Placeholder 17">
            <a:extLst>
              <a:ext uri="{FF2B5EF4-FFF2-40B4-BE49-F238E27FC236}">
                <a16:creationId xmlns:a16="http://schemas.microsoft.com/office/drawing/2014/main" id="{CCC8386F-CC54-4B64-B5D1-9A657680880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black">
          <a:xfrm>
            <a:off x="8812365" y="5693085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F22A8F00-A8F5-45FA-939B-AF9CDECFC16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black">
          <a:xfrm>
            <a:off x="8812365" y="6035985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68" name="Picture Placeholder 8">
            <a:extLst>
              <a:ext uri="{FF2B5EF4-FFF2-40B4-BE49-F238E27FC236}">
                <a16:creationId xmlns:a16="http://schemas.microsoft.com/office/drawing/2014/main" id="{E08E1A1A-B90B-4570-89FB-2CBAC88E310E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 bwMode="gray">
          <a:xfrm>
            <a:off x="6348586" y="4275921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4219916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ea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DAA53045-E974-482F-B6C6-845AE0AF16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309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DAA53045-E974-482F-B6C6-845AE0AF16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086E5-7758-47C4-8898-4163291B8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2DA71C-D7C8-4F9C-B46C-266684C7A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6EA5DAA-8AEF-46F4-BB21-743A48497D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B956040-3451-432A-B5D2-97358481E6D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530045D-760B-4E05-876C-201A25FABB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3356992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D96EF947-4571-43F8-92E4-D07EE98171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3573016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CA820576-85AC-479E-A001-12FA5AAB95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11939" y="1844976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7AA9479-788C-499E-A630-7E83685603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2766049" y="3356992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B1128BEE-6034-489B-AD03-C2B5B9B52C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2766049" y="3573016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DBB0C52C-610C-4860-BA22-411515F257A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162049" y="1844976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DAF038AE-DE49-4023-BDA5-39B60C6E488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5016159" y="3356992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F404D44F-CCF4-4FE8-ACD4-916B43C2FE9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5016159" y="3573016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F05CB38D-5215-4CE0-BD06-02F60AC510E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412159" y="1844976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6F83E7FF-96B5-41BF-9F7B-DFEF8E7C01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7266269" y="3356992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6EE6B3D-7934-423E-8403-7C44279F8C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7266269" y="3573016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35" name="Picture Placeholder 8">
            <a:extLst>
              <a:ext uri="{FF2B5EF4-FFF2-40B4-BE49-F238E27FC236}">
                <a16:creationId xmlns:a16="http://schemas.microsoft.com/office/drawing/2014/main" id="{EE48FF3F-D3F1-47CF-B226-FD2E77D5C5E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662269" y="1844976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9F5EED4C-37B5-44C5-9CA8-E676D80BFB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9516380" y="3356992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F2AEC920-CE3C-40A2-A3BA-D12E82362C4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black">
          <a:xfrm>
            <a:off x="9516380" y="3573016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38" name="Picture Placeholder 8">
            <a:extLst>
              <a:ext uri="{FF2B5EF4-FFF2-40B4-BE49-F238E27FC236}">
                <a16:creationId xmlns:a16="http://schemas.microsoft.com/office/drawing/2014/main" id="{2BA03EE4-FB8E-4FAC-9A09-7F9629EF414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912380" y="1844976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8CAD84BF-EBCD-412B-B937-F20D8D946C1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black">
          <a:xfrm>
            <a:off x="515939" y="5697100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A8D53672-E839-46C9-B4E1-E51878390F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black">
          <a:xfrm>
            <a:off x="515939" y="5913124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46" name="Picture Placeholder 8">
            <a:extLst>
              <a:ext uri="{FF2B5EF4-FFF2-40B4-BE49-F238E27FC236}">
                <a16:creationId xmlns:a16="http://schemas.microsoft.com/office/drawing/2014/main" id="{EC89A633-F77B-4562-BBFC-100DCEE5DA9A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911939" y="4185084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7080AC9E-2FAE-405F-AF21-5FE0E08F5F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black">
          <a:xfrm>
            <a:off x="2766049" y="5697100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DEAD5799-0F94-456C-9B0B-24598FB47B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2766049" y="5913124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49" name="Picture Placeholder 8">
            <a:extLst>
              <a:ext uri="{FF2B5EF4-FFF2-40B4-BE49-F238E27FC236}">
                <a16:creationId xmlns:a16="http://schemas.microsoft.com/office/drawing/2014/main" id="{D622DB33-8E37-4A91-BD82-2C313AD8AC1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3162049" y="4185084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50" name="Text Placeholder 17">
            <a:extLst>
              <a:ext uri="{FF2B5EF4-FFF2-40B4-BE49-F238E27FC236}">
                <a16:creationId xmlns:a16="http://schemas.microsoft.com/office/drawing/2014/main" id="{8BC882EA-EED9-4D75-AD66-F3E6AE956B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black">
          <a:xfrm>
            <a:off x="5016159" y="5697100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51" name="Text Placeholder 17">
            <a:extLst>
              <a:ext uri="{FF2B5EF4-FFF2-40B4-BE49-F238E27FC236}">
                <a16:creationId xmlns:a16="http://schemas.microsoft.com/office/drawing/2014/main" id="{1A9149D9-9411-4220-BA60-4E8F6467932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black">
          <a:xfrm>
            <a:off x="5016159" y="5913124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F60BAFB9-CCF4-4AF5-AF34-AEF4E7F5EDF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5412159" y="4185084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53" name="Text Placeholder 17">
            <a:extLst>
              <a:ext uri="{FF2B5EF4-FFF2-40B4-BE49-F238E27FC236}">
                <a16:creationId xmlns:a16="http://schemas.microsoft.com/office/drawing/2014/main" id="{A61EDF38-8ED6-4FCF-8E0E-87349C8771C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black">
          <a:xfrm>
            <a:off x="7266269" y="5697100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54" name="Text Placeholder 17">
            <a:extLst>
              <a:ext uri="{FF2B5EF4-FFF2-40B4-BE49-F238E27FC236}">
                <a16:creationId xmlns:a16="http://schemas.microsoft.com/office/drawing/2014/main" id="{CC1C73D2-FD13-45FD-A853-A92C17368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black">
          <a:xfrm>
            <a:off x="7266269" y="5913124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5" name="Picture Placeholder 8">
            <a:extLst>
              <a:ext uri="{FF2B5EF4-FFF2-40B4-BE49-F238E27FC236}">
                <a16:creationId xmlns:a16="http://schemas.microsoft.com/office/drawing/2014/main" id="{0EA6483C-F65D-4BFD-8AAC-A7C54A2F1AB0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7662269" y="4185084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56" name="Text Placeholder 17">
            <a:extLst>
              <a:ext uri="{FF2B5EF4-FFF2-40B4-BE49-F238E27FC236}">
                <a16:creationId xmlns:a16="http://schemas.microsoft.com/office/drawing/2014/main" id="{AEFD0D59-9881-4B53-B65F-7476EFFCB4D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black">
          <a:xfrm>
            <a:off x="9516380" y="5697100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B2963923-B6BF-468B-9BD8-769977A94A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black">
          <a:xfrm>
            <a:off x="9516380" y="5913124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8" name="Picture Placeholder 8">
            <a:extLst>
              <a:ext uri="{FF2B5EF4-FFF2-40B4-BE49-F238E27FC236}">
                <a16:creationId xmlns:a16="http://schemas.microsoft.com/office/drawing/2014/main" id="{A64DBF48-FACB-4962-96CD-6DABC04EED0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 bwMode="gray">
          <a:xfrm>
            <a:off x="9912380" y="4185084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pic>
        <p:nvPicPr>
          <p:cNvPr id="39" name="Grafik 9">
            <a:extLst>
              <a:ext uri="{FF2B5EF4-FFF2-40B4-BE49-F238E27FC236}">
                <a16:creationId xmlns:a16="http://schemas.microsoft.com/office/drawing/2014/main" id="{27479C41-C887-4A37-AA46-D564C237427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154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>
            <a:extLst>
              <a:ext uri="{FF2B5EF4-FFF2-40B4-BE49-F238E27FC236}">
                <a16:creationId xmlns:a16="http://schemas.microsoft.com/office/drawing/2014/main" id="{DA0222DF-4806-4E6E-90AA-EA482DC21A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385823" y="-778999"/>
            <a:ext cx="14963647" cy="8415998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7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2900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Speak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583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714849AF-D6D9-4611-826B-67A7BCB4F1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403812" y="1779282"/>
            <a:ext cx="7272000" cy="492443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presentation topic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788FE16-8869-4E53-85B6-F4C9227F6F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403812" y="5526332"/>
            <a:ext cx="7272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  <a:endParaRPr lang="en-US" noProof="0" dirty="0"/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D93342E6-D26D-44FB-94CC-8C52C154EE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4403812" y="5917041"/>
            <a:ext cx="7272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581700AF-975D-44A8-B98E-2D45CE414246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725" y="6276973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3384000" cy="45144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17" name="Straight Connector 2">
            <a:extLst>
              <a:ext uri="{FF2B5EF4-FFF2-40B4-BE49-F238E27FC236}">
                <a16:creationId xmlns:a16="http://schemas.microsoft.com/office/drawing/2014/main" id="{98189A68-68A4-42EA-829E-8EBEBC3DDBBB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725" y="5412622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35879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Speak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149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581700AF-975D-44A8-B98E-2D45CE414246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725" y="4098612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38" name="Straight Connector 2">
            <a:extLst>
              <a:ext uri="{FF2B5EF4-FFF2-40B4-BE49-F238E27FC236}">
                <a16:creationId xmlns:a16="http://schemas.microsoft.com/office/drawing/2014/main" id="{F293AAB1-282E-4088-B1FA-AB0A9FE6515B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041" y="6587476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Picture Placeholder 8">
            <a:extLst>
              <a:ext uri="{FF2B5EF4-FFF2-40B4-BE49-F238E27FC236}">
                <a16:creationId xmlns:a16="http://schemas.microsoft.com/office/drawing/2014/main" id="{F2A5DD2D-9395-40D4-818A-A6356F4A81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15938" y="4275921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8DE3CDB2-E4F1-413A-ADC9-0C17D6E6E5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403812" y="1779282"/>
            <a:ext cx="7272000" cy="43088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presentation topic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719CAA87-E119-4B96-9737-64FBB7C2F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403812" y="3501008"/>
            <a:ext cx="7272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  <a:endParaRPr lang="en-US" noProof="0" dirty="0" err="1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A6B49FF-49E6-4817-AD88-5DCE6EF52B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4403812" y="3765678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BE16138C-C81F-4A8C-B459-CB6FB1DE4CA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4403812" y="4275921"/>
            <a:ext cx="7272000" cy="43088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presentation topic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C84B7DCE-CCC6-4B31-8B0C-CA0E10349A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4403812" y="5997647"/>
            <a:ext cx="7272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  <a:endParaRPr lang="en-US" noProof="0" dirty="0" err="1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785E149A-B4EA-40F5-BC52-39E5B2C41C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black">
          <a:xfrm>
            <a:off x="4403812" y="6262317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title/function</a:t>
            </a:r>
            <a:endParaRPr lang="en-US" noProof="0" dirty="0" err="1"/>
          </a:p>
        </p:txBody>
      </p:sp>
    </p:spTree>
    <p:extLst>
      <p:ext uri="{BB962C8B-B14F-4D97-AF65-F5344CB8AC3E}">
        <p14:creationId xmlns:p14="http://schemas.microsoft.com/office/powerpoint/2010/main" val="27091883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Speak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698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524A79BD-69FE-418F-B30D-7FCF26048D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515938" y="4345699"/>
            <a:ext cx="3384000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presentation topic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4B7C2E4F-F306-4566-8DFF-0530F3AA3E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515938" y="5997647"/>
            <a:ext cx="338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D951F51C-1FCE-4DF7-88E0-82F9A24448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515938" y="6262317"/>
            <a:ext cx="338400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E7B1A539-41E6-4899-9E8A-6C2D6B474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black">
          <a:xfrm>
            <a:off x="4403812" y="4345699"/>
            <a:ext cx="3384000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presentation topic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D1C5042F-CA17-40C8-A36D-8174D0FDB1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4403812" y="5997647"/>
            <a:ext cx="338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  <a:endParaRPr lang="en-US" noProof="0" dirty="0" err="1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E226BB61-3E4A-4154-B357-3E796A32656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4403812" y="6262317"/>
            <a:ext cx="338400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8" name="Picture Placeholder 8">
            <a:extLst>
              <a:ext uri="{FF2B5EF4-FFF2-40B4-BE49-F238E27FC236}">
                <a16:creationId xmlns:a16="http://schemas.microsoft.com/office/drawing/2014/main" id="{DF5181F0-F6C8-4EA3-9E32-1B493E42676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4403812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E38352F6-0533-4456-8DE5-FAAFBBF170B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black">
          <a:xfrm>
            <a:off x="8292244" y="4345699"/>
            <a:ext cx="3384000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presentation topic</a:t>
            </a:r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A5036878-0066-4A6D-A462-D9A820A735E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black">
          <a:xfrm>
            <a:off x="8292244" y="5997647"/>
            <a:ext cx="338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  <a:endParaRPr lang="en-US" noProof="0" dirty="0" err="1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FA662FCD-B26A-4BD5-8B2F-E97BB2EC8F1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black">
          <a:xfrm>
            <a:off x="8292244" y="6262317"/>
            <a:ext cx="338400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67" name="Picture Placeholder 8">
            <a:extLst>
              <a:ext uri="{FF2B5EF4-FFF2-40B4-BE49-F238E27FC236}">
                <a16:creationId xmlns:a16="http://schemas.microsoft.com/office/drawing/2014/main" id="{ECB0BCA4-7CE7-4F06-A0CD-A3D58573391C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 bwMode="gray">
          <a:xfrm>
            <a:off x="8292244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45" name="Straight Connector 2">
            <a:extLst>
              <a:ext uri="{FF2B5EF4-FFF2-40B4-BE49-F238E27FC236}">
                <a16:creationId xmlns:a16="http://schemas.microsoft.com/office/drawing/2014/main" id="{00D39825-D0CD-4C07-BF39-34F87CB2A9A0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938" y="6587476"/>
            <a:ext cx="3384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">
            <a:extLst>
              <a:ext uri="{FF2B5EF4-FFF2-40B4-BE49-F238E27FC236}">
                <a16:creationId xmlns:a16="http://schemas.microsoft.com/office/drawing/2014/main" id="{BA397C17-9EED-45E2-9453-D783EA0AEEF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812" y="6587476"/>
            <a:ext cx="3384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">
            <a:extLst>
              <a:ext uri="{FF2B5EF4-FFF2-40B4-BE49-F238E27FC236}">
                <a16:creationId xmlns:a16="http://schemas.microsoft.com/office/drawing/2014/main" id="{BA95F752-99CF-4A2D-B838-0502BDD2C093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8292244" y="6587476"/>
            <a:ext cx="3384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52228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Speaker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599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714849AF-D6D9-4611-826B-67A7BCB4F1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3323972" y="1843016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788FE16-8869-4E53-85B6-F4C9227F6F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323972" y="2107686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524A79BD-69FE-418F-B30D-7FCF26048DC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 bwMode="black">
          <a:xfrm>
            <a:off x="3323972" y="4345699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4B7C2E4F-F306-4566-8DFF-0530F3AA3EF2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 bwMode="black">
          <a:xfrm>
            <a:off x="3323972" y="4610369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4" name="Picture Placeholder 8">
            <a:extLst>
              <a:ext uri="{FF2B5EF4-FFF2-40B4-BE49-F238E27FC236}">
                <a16:creationId xmlns:a16="http://schemas.microsoft.com/office/drawing/2014/main" id="{F2A5DD2D-9395-40D4-818A-A6356F4A81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15938" y="4275921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045151F-1DA1-4FB0-B142-F656633D2F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9156620" y="1843016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68E45868-6CCD-4D5B-A2FC-623E1A02CF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9156620" y="2107686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8" name="Picture Placeholder 8">
            <a:extLst>
              <a:ext uri="{FF2B5EF4-FFF2-40B4-BE49-F238E27FC236}">
                <a16:creationId xmlns:a16="http://schemas.microsoft.com/office/drawing/2014/main" id="{4B8E8304-E952-4F0B-8E5B-2DED14E148E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6348586" y="1772815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12659612-8CFD-40FE-8E32-625C4EC584A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black">
          <a:xfrm>
            <a:off x="9156620" y="4345699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93EFBD9C-EB03-4073-9138-CBB7697737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black">
          <a:xfrm>
            <a:off x="9156620" y="4610369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68" name="Picture Placeholder 8">
            <a:extLst>
              <a:ext uri="{FF2B5EF4-FFF2-40B4-BE49-F238E27FC236}">
                <a16:creationId xmlns:a16="http://schemas.microsoft.com/office/drawing/2014/main" id="{E08E1A1A-B90B-4570-89FB-2CBAC88E310E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 bwMode="gray">
          <a:xfrm>
            <a:off x="6348586" y="4275921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70" name="Straight Connector 2">
            <a:extLst>
              <a:ext uri="{FF2B5EF4-FFF2-40B4-BE49-F238E27FC236}">
                <a16:creationId xmlns:a16="http://schemas.microsoft.com/office/drawing/2014/main" id="{C4E4588F-B844-4406-B0F1-025A3B7DBBF9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323885" y="4098612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">
            <a:extLst>
              <a:ext uri="{FF2B5EF4-FFF2-40B4-BE49-F238E27FC236}">
                <a16:creationId xmlns:a16="http://schemas.microsoft.com/office/drawing/2014/main" id="{FF63042C-57E9-4626-AF05-F472A35743BE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323201" y="6587476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2">
            <a:extLst>
              <a:ext uri="{FF2B5EF4-FFF2-40B4-BE49-F238E27FC236}">
                <a16:creationId xmlns:a16="http://schemas.microsoft.com/office/drawing/2014/main" id="{4F787D8D-452F-4BFF-877F-D7555E558C08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9156533" y="4098612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2">
            <a:extLst>
              <a:ext uri="{FF2B5EF4-FFF2-40B4-BE49-F238E27FC236}">
                <a16:creationId xmlns:a16="http://schemas.microsoft.com/office/drawing/2014/main" id="{55BC4CF1-1D16-4145-8E71-3A3EDA92020E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9155849" y="6587476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57820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losing Slide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183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10">
            <a:extLst>
              <a:ext uri="{FF2B5EF4-FFF2-40B4-BE49-F238E27FC236}">
                <a16:creationId xmlns:a16="http://schemas.microsoft.com/office/drawing/2014/main" id="{E20356AD-0FE0-4FB6-98D0-A22DF90165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5379" y="0"/>
            <a:ext cx="6096621" cy="685869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F7A86F4-FA12-4653-BE93-43D28462DAF3}"/>
              </a:ext>
            </a:extLst>
          </p:cNvPr>
          <p:cNvGrpSpPr/>
          <p:nvPr userDrawn="1"/>
        </p:nvGrpSpPr>
        <p:grpSpPr bwMode="white">
          <a:xfrm>
            <a:off x="5334007" y="0"/>
            <a:ext cx="6857993" cy="6858000"/>
            <a:chOff x="5334007" y="0"/>
            <a:chExt cx="6857993" cy="6858000"/>
          </a:xfrm>
        </p:grpSpPr>
        <p:sp>
          <p:nvSpPr>
            <p:cNvPr id="15" name="Graphic 26">
              <a:extLst>
                <a:ext uri="{FF2B5EF4-FFF2-40B4-BE49-F238E27FC236}">
                  <a16:creationId xmlns:a16="http://schemas.microsoft.com/office/drawing/2014/main" id="{3A01106B-747B-408F-B6EE-C68EAEC48E96}"/>
                </a:ext>
              </a:extLst>
            </p:cNvPr>
            <p:cNvSpPr/>
            <p:nvPr/>
          </p:nvSpPr>
          <p:spPr bwMode="white">
            <a:xfrm>
              <a:off x="5745486" y="0"/>
              <a:ext cx="960119" cy="6858000"/>
            </a:xfrm>
            <a:custGeom>
              <a:avLst/>
              <a:gdLst>
                <a:gd name="connsiteX0" fmla="*/ 0 w 960119"/>
                <a:gd name="connsiteY0" fmla="*/ 0 h 6857993"/>
                <a:gd name="connsiteX1" fmla="*/ 960119 w 960119"/>
                <a:gd name="connsiteY1" fmla="*/ 0 h 6857993"/>
                <a:gd name="connsiteX2" fmla="*/ 960119 w 960119"/>
                <a:gd name="connsiteY2" fmla="*/ 6857993 h 6857993"/>
                <a:gd name="connsiteX3" fmla="*/ 0 w 9601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0119" h="6857993">
                  <a:moveTo>
                    <a:pt x="0" y="0"/>
                  </a:moveTo>
                  <a:lnTo>
                    <a:pt x="960119" y="0"/>
                  </a:lnTo>
                  <a:lnTo>
                    <a:pt x="9601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phic 26">
              <a:extLst>
                <a:ext uri="{FF2B5EF4-FFF2-40B4-BE49-F238E27FC236}">
                  <a16:creationId xmlns:a16="http://schemas.microsoft.com/office/drawing/2014/main" id="{0E01C1D3-4ACE-4808-8564-A10B7D9402D5}"/>
                </a:ext>
              </a:extLst>
            </p:cNvPr>
            <p:cNvSpPr/>
            <p:nvPr/>
          </p:nvSpPr>
          <p:spPr bwMode="white">
            <a:xfrm>
              <a:off x="7345684" y="0"/>
              <a:ext cx="731519" cy="6858000"/>
            </a:xfrm>
            <a:custGeom>
              <a:avLst/>
              <a:gdLst>
                <a:gd name="connsiteX0" fmla="*/ 0 w 731519"/>
                <a:gd name="connsiteY0" fmla="*/ 0 h 6857993"/>
                <a:gd name="connsiteX1" fmla="*/ 731519 w 731519"/>
                <a:gd name="connsiteY1" fmla="*/ 0 h 6857993"/>
                <a:gd name="connsiteX2" fmla="*/ 731519 w 731519"/>
                <a:gd name="connsiteY2" fmla="*/ 6857993 h 6857993"/>
                <a:gd name="connsiteX3" fmla="*/ 0 w 7315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519" h="6857993">
                  <a:moveTo>
                    <a:pt x="0" y="0"/>
                  </a:moveTo>
                  <a:lnTo>
                    <a:pt x="731519" y="0"/>
                  </a:lnTo>
                  <a:lnTo>
                    <a:pt x="7315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Graphic 26">
              <a:extLst>
                <a:ext uri="{FF2B5EF4-FFF2-40B4-BE49-F238E27FC236}">
                  <a16:creationId xmlns:a16="http://schemas.microsoft.com/office/drawing/2014/main" id="{18DF3446-E12A-4B24-A59A-7FA337528D59}"/>
                </a:ext>
              </a:extLst>
            </p:cNvPr>
            <p:cNvSpPr/>
            <p:nvPr/>
          </p:nvSpPr>
          <p:spPr bwMode="white">
            <a:xfrm>
              <a:off x="8968743" y="0"/>
              <a:ext cx="480059" cy="6858000"/>
            </a:xfrm>
            <a:custGeom>
              <a:avLst/>
              <a:gdLst>
                <a:gd name="connsiteX0" fmla="*/ 0 w 480059"/>
                <a:gd name="connsiteY0" fmla="*/ 0 h 6857993"/>
                <a:gd name="connsiteX1" fmla="*/ 480060 w 480059"/>
                <a:gd name="connsiteY1" fmla="*/ 0 h 6857993"/>
                <a:gd name="connsiteX2" fmla="*/ 480060 w 480059"/>
                <a:gd name="connsiteY2" fmla="*/ 6857993 h 6857993"/>
                <a:gd name="connsiteX3" fmla="*/ 0 w 4800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9" h="6857993">
                  <a:moveTo>
                    <a:pt x="0" y="0"/>
                  </a:moveTo>
                  <a:lnTo>
                    <a:pt x="480060" y="0"/>
                  </a:lnTo>
                  <a:lnTo>
                    <a:pt x="4800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Graphic 26">
              <a:extLst>
                <a:ext uri="{FF2B5EF4-FFF2-40B4-BE49-F238E27FC236}">
                  <a16:creationId xmlns:a16="http://schemas.microsoft.com/office/drawing/2014/main" id="{3E5A4A23-D391-43A6-A29B-C0C6A6808EF3}"/>
                </a:ext>
              </a:extLst>
            </p:cNvPr>
            <p:cNvSpPr/>
            <p:nvPr/>
          </p:nvSpPr>
          <p:spPr bwMode="white">
            <a:xfrm>
              <a:off x="10568941" y="0"/>
              <a:ext cx="251459" cy="6858000"/>
            </a:xfrm>
            <a:custGeom>
              <a:avLst/>
              <a:gdLst>
                <a:gd name="connsiteX0" fmla="*/ 0 w 251459"/>
                <a:gd name="connsiteY0" fmla="*/ 0 h 6857993"/>
                <a:gd name="connsiteX1" fmla="*/ 251460 w 251459"/>
                <a:gd name="connsiteY1" fmla="*/ 0 h 6857993"/>
                <a:gd name="connsiteX2" fmla="*/ 251460 w 251459"/>
                <a:gd name="connsiteY2" fmla="*/ 6857993 h 6857993"/>
                <a:gd name="connsiteX3" fmla="*/ 0 w 2514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59" h="6857993">
                  <a:moveTo>
                    <a:pt x="0" y="0"/>
                  </a:moveTo>
                  <a:lnTo>
                    <a:pt x="251460" y="0"/>
                  </a:lnTo>
                  <a:lnTo>
                    <a:pt x="2514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Graphic 26">
              <a:extLst>
                <a:ext uri="{FF2B5EF4-FFF2-40B4-BE49-F238E27FC236}">
                  <a16:creationId xmlns:a16="http://schemas.microsoft.com/office/drawing/2014/main" id="{28974072-4C0A-48BD-B197-2C5E176AFE68}"/>
                </a:ext>
              </a:extLst>
            </p:cNvPr>
            <p:cNvSpPr/>
            <p:nvPr/>
          </p:nvSpPr>
          <p:spPr bwMode="white">
            <a:xfrm>
              <a:off x="5334007" y="0"/>
              <a:ext cx="6857993" cy="6858000"/>
            </a:xfrm>
            <a:custGeom>
              <a:avLst/>
              <a:gdLst>
                <a:gd name="connsiteX0" fmla="*/ 0 w 6857993"/>
                <a:gd name="connsiteY0" fmla="*/ 0 h 6857993"/>
                <a:gd name="connsiteX1" fmla="*/ 6857993 w 6857993"/>
                <a:gd name="connsiteY1" fmla="*/ 0 h 6857993"/>
                <a:gd name="connsiteX2" fmla="*/ 6857993 w 6857993"/>
                <a:gd name="connsiteY2" fmla="*/ 6857993 h 6857993"/>
                <a:gd name="connsiteX3" fmla="*/ 0 w 6857993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3" h="6857993">
                  <a:moveTo>
                    <a:pt x="0" y="0"/>
                  </a:moveTo>
                  <a:lnTo>
                    <a:pt x="6857993" y="0"/>
                  </a:lnTo>
                  <a:lnTo>
                    <a:pt x="6857993" y="6857993"/>
                  </a:lnTo>
                  <a:lnTo>
                    <a:pt x="0" y="6857993"/>
                  </a:lnTo>
                  <a:close/>
                </a:path>
              </a:pathLst>
            </a:custGeom>
            <a:noFill/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final message/ conclusion</a:t>
            </a:r>
            <a:endParaRPr lang="en-GB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7884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losing Slide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12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291D4B97-00EB-4886-9747-76F2CCEA58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6980904" y="260648"/>
            <a:ext cx="4090586" cy="4090586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final message/ conclusion</a:t>
            </a:r>
            <a:endParaRPr lang="en-GB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3043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340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A large crowd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7657A8BF-7518-4535-8355-43029AF74E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-1"/>
            <a:ext cx="6095999" cy="68580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F7A86F4-FA12-4653-BE93-43D28462DAF3}"/>
              </a:ext>
            </a:extLst>
          </p:cNvPr>
          <p:cNvGrpSpPr/>
          <p:nvPr userDrawn="1"/>
        </p:nvGrpSpPr>
        <p:grpSpPr bwMode="white">
          <a:xfrm>
            <a:off x="5334007" y="0"/>
            <a:ext cx="6857993" cy="6858000"/>
            <a:chOff x="5334007" y="0"/>
            <a:chExt cx="6857993" cy="6858000"/>
          </a:xfrm>
        </p:grpSpPr>
        <p:sp>
          <p:nvSpPr>
            <p:cNvPr id="15" name="Graphic 26">
              <a:extLst>
                <a:ext uri="{FF2B5EF4-FFF2-40B4-BE49-F238E27FC236}">
                  <a16:creationId xmlns:a16="http://schemas.microsoft.com/office/drawing/2014/main" id="{3A01106B-747B-408F-B6EE-C68EAEC48E96}"/>
                </a:ext>
              </a:extLst>
            </p:cNvPr>
            <p:cNvSpPr/>
            <p:nvPr/>
          </p:nvSpPr>
          <p:spPr bwMode="white">
            <a:xfrm>
              <a:off x="5745486" y="0"/>
              <a:ext cx="960119" cy="6858000"/>
            </a:xfrm>
            <a:custGeom>
              <a:avLst/>
              <a:gdLst>
                <a:gd name="connsiteX0" fmla="*/ 0 w 960119"/>
                <a:gd name="connsiteY0" fmla="*/ 0 h 6857993"/>
                <a:gd name="connsiteX1" fmla="*/ 960119 w 960119"/>
                <a:gd name="connsiteY1" fmla="*/ 0 h 6857993"/>
                <a:gd name="connsiteX2" fmla="*/ 960119 w 960119"/>
                <a:gd name="connsiteY2" fmla="*/ 6857993 h 6857993"/>
                <a:gd name="connsiteX3" fmla="*/ 0 w 9601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0119" h="6857993">
                  <a:moveTo>
                    <a:pt x="0" y="0"/>
                  </a:moveTo>
                  <a:lnTo>
                    <a:pt x="960119" y="0"/>
                  </a:lnTo>
                  <a:lnTo>
                    <a:pt x="9601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phic 26">
              <a:extLst>
                <a:ext uri="{FF2B5EF4-FFF2-40B4-BE49-F238E27FC236}">
                  <a16:creationId xmlns:a16="http://schemas.microsoft.com/office/drawing/2014/main" id="{0E01C1D3-4ACE-4808-8564-A10B7D9402D5}"/>
                </a:ext>
              </a:extLst>
            </p:cNvPr>
            <p:cNvSpPr/>
            <p:nvPr/>
          </p:nvSpPr>
          <p:spPr bwMode="white">
            <a:xfrm>
              <a:off x="7345684" y="0"/>
              <a:ext cx="731519" cy="6858000"/>
            </a:xfrm>
            <a:custGeom>
              <a:avLst/>
              <a:gdLst>
                <a:gd name="connsiteX0" fmla="*/ 0 w 731519"/>
                <a:gd name="connsiteY0" fmla="*/ 0 h 6857993"/>
                <a:gd name="connsiteX1" fmla="*/ 731519 w 731519"/>
                <a:gd name="connsiteY1" fmla="*/ 0 h 6857993"/>
                <a:gd name="connsiteX2" fmla="*/ 731519 w 731519"/>
                <a:gd name="connsiteY2" fmla="*/ 6857993 h 6857993"/>
                <a:gd name="connsiteX3" fmla="*/ 0 w 7315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519" h="6857993">
                  <a:moveTo>
                    <a:pt x="0" y="0"/>
                  </a:moveTo>
                  <a:lnTo>
                    <a:pt x="731519" y="0"/>
                  </a:lnTo>
                  <a:lnTo>
                    <a:pt x="7315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Graphic 26">
              <a:extLst>
                <a:ext uri="{FF2B5EF4-FFF2-40B4-BE49-F238E27FC236}">
                  <a16:creationId xmlns:a16="http://schemas.microsoft.com/office/drawing/2014/main" id="{18DF3446-E12A-4B24-A59A-7FA337528D59}"/>
                </a:ext>
              </a:extLst>
            </p:cNvPr>
            <p:cNvSpPr/>
            <p:nvPr/>
          </p:nvSpPr>
          <p:spPr bwMode="white">
            <a:xfrm>
              <a:off x="8968743" y="0"/>
              <a:ext cx="480059" cy="6858000"/>
            </a:xfrm>
            <a:custGeom>
              <a:avLst/>
              <a:gdLst>
                <a:gd name="connsiteX0" fmla="*/ 0 w 480059"/>
                <a:gd name="connsiteY0" fmla="*/ 0 h 6857993"/>
                <a:gd name="connsiteX1" fmla="*/ 480060 w 480059"/>
                <a:gd name="connsiteY1" fmla="*/ 0 h 6857993"/>
                <a:gd name="connsiteX2" fmla="*/ 480060 w 480059"/>
                <a:gd name="connsiteY2" fmla="*/ 6857993 h 6857993"/>
                <a:gd name="connsiteX3" fmla="*/ 0 w 4800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9" h="6857993">
                  <a:moveTo>
                    <a:pt x="0" y="0"/>
                  </a:moveTo>
                  <a:lnTo>
                    <a:pt x="480060" y="0"/>
                  </a:lnTo>
                  <a:lnTo>
                    <a:pt x="4800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Graphic 26">
              <a:extLst>
                <a:ext uri="{FF2B5EF4-FFF2-40B4-BE49-F238E27FC236}">
                  <a16:creationId xmlns:a16="http://schemas.microsoft.com/office/drawing/2014/main" id="{3E5A4A23-D391-43A6-A29B-C0C6A6808EF3}"/>
                </a:ext>
              </a:extLst>
            </p:cNvPr>
            <p:cNvSpPr/>
            <p:nvPr/>
          </p:nvSpPr>
          <p:spPr bwMode="white">
            <a:xfrm>
              <a:off x="10568941" y="0"/>
              <a:ext cx="251459" cy="6858000"/>
            </a:xfrm>
            <a:custGeom>
              <a:avLst/>
              <a:gdLst>
                <a:gd name="connsiteX0" fmla="*/ 0 w 251459"/>
                <a:gd name="connsiteY0" fmla="*/ 0 h 6857993"/>
                <a:gd name="connsiteX1" fmla="*/ 251460 w 251459"/>
                <a:gd name="connsiteY1" fmla="*/ 0 h 6857993"/>
                <a:gd name="connsiteX2" fmla="*/ 251460 w 251459"/>
                <a:gd name="connsiteY2" fmla="*/ 6857993 h 6857993"/>
                <a:gd name="connsiteX3" fmla="*/ 0 w 2514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59" h="6857993">
                  <a:moveTo>
                    <a:pt x="0" y="0"/>
                  </a:moveTo>
                  <a:lnTo>
                    <a:pt x="251460" y="0"/>
                  </a:lnTo>
                  <a:lnTo>
                    <a:pt x="2514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Graphic 26">
              <a:extLst>
                <a:ext uri="{FF2B5EF4-FFF2-40B4-BE49-F238E27FC236}">
                  <a16:creationId xmlns:a16="http://schemas.microsoft.com/office/drawing/2014/main" id="{28974072-4C0A-48BD-B197-2C5E176AFE68}"/>
                </a:ext>
              </a:extLst>
            </p:cNvPr>
            <p:cNvSpPr/>
            <p:nvPr/>
          </p:nvSpPr>
          <p:spPr bwMode="white">
            <a:xfrm>
              <a:off x="5334007" y="0"/>
              <a:ext cx="6857993" cy="6858000"/>
            </a:xfrm>
            <a:custGeom>
              <a:avLst/>
              <a:gdLst>
                <a:gd name="connsiteX0" fmla="*/ 0 w 6857993"/>
                <a:gd name="connsiteY0" fmla="*/ 0 h 6857993"/>
                <a:gd name="connsiteX1" fmla="*/ 6857993 w 6857993"/>
                <a:gd name="connsiteY1" fmla="*/ 0 h 6857993"/>
                <a:gd name="connsiteX2" fmla="*/ 6857993 w 6857993"/>
                <a:gd name="connsiteY2" fmla="*/ 6857993 h 6857993"/>
                <a:gd name="connsiteX3" fmla="*/ 0 w 6857993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3" h="6857993">
                  <a:moveTo>
                    <a:pt x="0" y="0"/>
                  </a:moveTo>
                  <a:lnTo>
                    <a:pt x="6857993" y="0"/>
                  </a:lnTo>
                  <a:lnTo>
                    <a:pt x="6857993" y="6857993"/>
                  </a:lnTo>
                  <a:lnTo>
                    <a:pt x="0" y="6857993"/>
                  </a:lnTo>
                  <a:close/>
                </a:path>
              </a:pathLst>
            </a:custGeom>
            <a:noFill/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location, date (optional)</a:t>
            </a:r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8850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9239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10">
            <a:extLst>
              <a:ext uri="{FF2B5EF4-FFF2-40B4-BE49-F238E27FC236}">
                <a16:creationId xmlns:a16="http://schemas.microsoft.com/office/drawing/2014/main" id="{E20356AD-0FE0-4FB6-98D0-A22DF90165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5380" y="-698"/>
            <a:ext cx="6096620" cy="685869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F7A86F4-FA12-4653-BE93-43D28462DAF3}"/>
              </a:ext>
            </a:extLst>
          </p:cNvPr>
          <p:cNvGrpSpPr/>
          <p:nvPr userDrawn="1"/>
        </p:nvGrpSpPr>
        <p:grpSpPr bwMode="white">
          <a:xfrm>
            <a:off x="5334007" y="0"/>
            <a:ext cx="6857993" cy="6858000"/>
            <a:chOff x="5334007" y="0"/>
            <a:chExt cx="6857993" cy="6858000"/>
          </a:xfrm>
        </p:grpSpPr>
        <p:sp>
          <p:nvSpPr>
            <p:cNvPr id="15" name="Graphic 26">
              <a:extLst>
                <a:ext uri="{FF2B5EF4-FFF2-40B4-BE49-F238E27FC236}">
                  <a16:creationId xmlns:a16="http://schemas.microsoft.com/office/drawing/2014/main" id="{3A01106B-747B-408F-B6EE-C68EAEC48E96}"/>
                </a:ext>
              </a:extLst>
            </p:cNvPr>
            <p:cNvSpPr/>
            <p:nvPr/>
          </p:nvSpPr>
          <p:spPr bwMode="white">
            <a:xfrm>
              <a:off x="5745486" y="0"/>
              <a:ext cx="960119" cy="6858000"/>
            </a:xfrm>
            <a:custGeom>
              <a:avLst/>
              <a:gdLst>
                <a:gd name="connsiteX0" fmla="*/ 0 w 960119"/>
                <a:gd name="connsiteY0" fmla="*/ 0 h 6857993"/>
                <a:gd name="connsiteX1" fmla="*/ 960119 w 960119"/>
                <a:gd name="connsiteY1" fmla="*/ 0 h 6857993"/>
                <a:gd name="connsiteX2" fmla="*/ 960119 w 960119"/>
                <a:gd name="connsiteY2" fmla="*/ 6857993 h 6857993"/>
                <a:gd name="connsiteX3" fmla="*/ 0 w 9601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0119" h="6857993">
                  <a:moveTo>
                    <a:pt x="0" y="0"/>
                  </a:moveTo>
                  <a:lnTo>
                    <a:pt x="960119" y="0"/>
                  </a:lnTo>
                  <a:lnTo>
                    <a:pt x="9601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phic 26">
              <a:extLst>
                <a:ext uri="{FF2B5EF4-FFF2-40B4-BE49-F238E27FC236}">
                  <a16:creationId xmlns:a16="http://schemas.microsoft.com/office/drawing/2014/main" id="{0E01C1D3-4ACE-4808-8564-A10B7D9402D5}"/>
                </a:ext>
              </a:extLst>
            </p:cNvPr>
            <p:cNvSpPr/>
            <p:nvPr/>
          </p:nvSpPr>
          <p:spPr bwMode="white">
            <a:xfrm>
              <a:off x="7345684" y="0"/>
              <a:ext cx="731519" cy="6858000"/>
            </a:xfrm>
            <a:custGeom>
              <a:avLst/>
              <a:gdLst>
                <a:gd name="connsiteX0" fmla="*/ 0 w 731519"/>
                <a:gd name="connsiteY0" fmla="*/ 0 h 6857993"/>
                <a:gd name="connsiteX1" fmla="*/ 731519 w 731519"/>
                <a:gd name="connsiteY1" fmla="*/ 0 h 6857993"/>
                <a:gd name="connsiteX2" fmla="*/ 731519 w 731519"/>
                <a:gd name="connsiteY2" fmla="*/ 6857993 h 6857993"/>
                <a:gd name="connsiteX3" fmla="*/ 0 w 7315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519" h="6857993">
                  <a:moveTo>
                    <a:pt x="0" y="0"/>
                  </a:moveTo>
                  <a:lnTo>
                    <a:pt x="731519" y="0"/>
                  </a:lnTo>
                  <a:lnTo>
                    <a:pt x="7315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Graphic 26">
              <a:extLst>
                <a:ext uri="{FF2B5EF4-FFF2-40B4-BE49-F238E27FC236}">
                  <a16:creationId xmlns:a16="http://schemas.microsoft.com/office/drawing/2014/main" id="{18DF3446-E12A-4B24-A59A-7FA337528D59}"/>
                </a:ext>
              </a:extLst>
            </p:cNvPr>
            <p:cNvSpPr/>
            <p:nvPr/>
          </p:nvSpPr>
          <p:spPr bwMode="white">
            <a:xfrm>
              <a:off x="8968743" y="0"/>
              <a:ext cx="480059" cy="6858000"/>
            </a:xfrm>
            <a:custGeom>
              <a:avLst/>
              <a:gdLst>
                <a:gd name="connsiteX0" fmla="*/ 0 w 480059"/>
                <a:gd name="connsiteY0" fmla="*/ 0 h 6857993"/>
                <a:gd name="connsiteX1" fmla="*/ 480060 w 480059"/>
                <a:gd name="connsiteY1" fmla="*/ 0 h 6857993"/>
                <a:gd name="connsiteX2" fmla="*/ 480060 w 480059"/>
                <a:gd name="connsiteY2" fmla="*/ 6857993 h 6857993"/>
                <a:gd name="connsiteX3" fmla="*/ 0 w 4800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9" h="6857993">
                  <a:moveTo>
                    <a:pt x="0" y="0"/>
                  </a:moveTo>
                  <a:lnTo>
                    <a:pt x="480060" y="0"/>
                  </a:lnTo>
                  <a:lnTo>
                    <a:pt x="4800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Graphic 26">
              <a:extLst>
                <a:ext uri="{FF2B5EF4-FFF2-40B4-BE49-F238E27FC236}">
                  <a16:creationId xmlns:a16="http://schemas.microsoft.com/office/drawing/2014/main" id="{3E5A4A23-D391-43A6-A29B-C0C6A6808EF3}"/>
                </a:ext>
              </a:extLst>
            </p:cNvPr>
            <p:cNvSpPr/>
            <p:nvPr/>
          </p:nvSpPr>
          <p:spPr bwMode="white">
            <a:xfrm>
              <a:off x="10568941" y="0"/>
              <a:ext cx="251459" cy="6858000"/>
            </a:xfrm>
            <a:custGeom>
              <a:avLst/>
              <a:gdLst>
                <a:gd name="connsiteX0" fmla="*/ 0 w 251459"/>
                <a:gd name="connsiteY0" fmla="*/ 0 h 6857993"/>
                <a:gd name="connsiteX1" fmla="*/ 251460 w 251459"/>
                <a:gd name="connsiteY1" fmla="*/ 0 h 6857993"/>
                <a:gd name="connsiteX2" fmla="*/ 251460 w 251459"/>
                <a:gd name="connsiteY2" fmla="*/ 6857993 h 6857993"/>
                <a:gd name="connsiteX3" fmla="*/ 0 w 2514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59" h="6857993">
                  <a:moveTo>
                    <a:pt x="0" y="0"/>
                  </a:moveTo>
                  <a:lnTo>
                    <a:pt x="251460" y="0"/>
                  </a:lnTo>
                  <a:lnTo>
                    <a:pt x="2514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Graphic 26">
              <a:extLst>
                <a:ext uri="{FF2B5EF4-FFF2-40B4-BE49-F238E27FC236}">
                  <a16:creationId xmlns:a16="http://schemas.microsoft.com/office/drawing/2014/main" id="{28974072-4C0A-48BD-B197-2C5E176AFE68}"/>
                </a:ext>
              </a:extLst>
            </p:cNvPr>
            <p:cNvSpPr/>
            <p:nvPr/>
          </p:nvSpPr>
          <p:spPr bwMode="white">
            <a:xfrm>
              <a:off x="5334007" y="0"/>
              <a:ext cx="6857993" cy="6858000"/>
            </a:xfrm>
            <a:custGeom>
              <a:avLst/>
              <a:gdLst>
                <a:gd name="connsiteX0" fmla="*/ 0 w 6857993"/>
                <a:gd name="connsiteY0" fmla="*/ 0 h 6857993"/>
                <a:gd name="connsiteX1" fmla="*/ 6857993 w 6857993"/>
                <a:gd name="connsiteY1" fmla="*/ 0 h 6857993"/>
                <a:gd name="connsiteX2" fmla="*/ 6857993 w 6857993"/>
                <a:gd name="connsiteY2" fmla="*/ 6857993 h 6857993"/>
                <a:gd name="connsiteX3" fmla="*/ 0 w 6857993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3" h="6857993">
                  <a:moveTo>
                    <a:pt x="0" y="0"/>
                  </a:moveTo>
                  <a:lnTo>
                    <a:pt x="6857993" y="0"/>
                  </a:lnTo>
                  <a:lnTo>
                    <a:pt x="6857993" y="6857993"/>
                  </a:lnTo>
                  <a:lnTo>
                    <a:pt x="0" y="6857993"/>
                  </a:lnTo>
                  <a:close/>
                </a:path>
              </a:pathLst>
            </a:custGeom>
            <a:noFill/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6349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889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Grafik 10">
            <a:extLst>
              <a:ext uri="{FF2B5EF4-FFF2-40B4-BE49-F238E27FC236}">
                <a16:creationId xmlns:a16="http://schemas.microsoft.com/office/drawing/2014/main" id="{7268C43F-32BC-450D-93B7-E56687531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6000" y="-1"/>
            <a:ext cx="6096000" cy="6857999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E1007D18-CC7E-44B1-9EDD-D2E722995811}"/>
              </a:ext>
            </a:extLst>
          </p:cNvPr>
          <p:cNvGrpSpPr/>
          <p:nvPr userDrawn="1"/>
        </p:nvGrpSpPr>
        <p:grpSpPr bwMode="white">
          <a:xfrm>
            <a:off x="5334007" y="4"/>
            <a:ext cx="6857993" cy="6857993"/>
            <a:chOff x="5334007" y="4"/>
            <a:chExt cx="6857993" cy="6857993"/>
          </a:xfrm>
        </p:grpSpPr>
        <p:sp>
          <p:nvSpPr>
            <p:cNvPr id="26" name="Graphic 26">
              <a:extLst>
                <a:ext uri="{FF2B5EF4-FFF2-40B4-BE49-F238E27FC236}">
                  <a16:creationId xmlns:a16="http://schemas.microsoft.com/office/drawing/2014/main" id="{A1C1EA02-8ABE-49F9-B404-F8C1CD062086}"/>
                </a:ext>
              </a:extLst>
            </p:cNvPr>
            <p:cNvSpPr/>
            <p:nvPr/>
          </p:nvSpPr>
          <p:spPr bwMode="white">
            <a:xfrm>
              <a:off x="5745486" y="4"/>
              <a:ext cx="960119" cy="6857993"/>
            </a:xfrm>
            <a:custGeom>
              <a:avLst/>
              <a:gdLst>
                <a:gd name="connsiteX0" fmla="*/ 0 w 960119"/>
                <a:gd name="connsiteY0" fmla="*/ 0 h 6857993"/>
                <a:gd name="connsiteX1" fmla="*/ 960119 w 960119"/>
                <a:gd name="connsiteY1" fmla="*/ 0 h 6857993"/>
                <a:gd name="connsiteX2" fmla="*/ 960119 w 960119"/>
                <a:gd name="connsiteY2" fmla="*/ 6857993 h 6857993"/>
                <a:gd name="connsiteX3" fmla="*/ 0 w 9601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0119" h="6857993">
                  <a:moveTo>
                    <a:pt x="0" y="0"/>
                  </a:moveTo>
                  <a:lnTo>
                    <a:pt x="960119" y="0"/>
                  </a:lnTo>
                  <a:lnTo>
                    <a:pt x="9601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chemeClr val="bg1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Graphic 26">
              <a:extLst>
                <a:ext uri="{FF2B5EF4-FFF2-40B4-BE49-F238E27FC236}">
                  <a16:creationId xmlns:a16="http://schemas.microsoft.com/office/drawing/2014/main" id="{0ADDAEA4-8748-4D56-9E96-8B02EDED7599}"/>
                </a:ext>
              </a:extLst>
            </p:cNvPr>
            <p:cNvSpPr/>
            <p:nvPr/>
          </p:nvSpPr>
          <p:spPr bwMode="white">
            <a:xfrm>
              <a:off x="7345684" y="4"/>
              <a:ext cx="731519" cy="6857993"/>
            </a:xfrm>
            <a:custGeom>
              <a:avLst/>
              <a:gdLst>
                <a:gd name="connsiteX0" fmla="*/ 0 w 731519"/>
                <a:gd name="connsiteY0" fmla="*/ 0 h 6857993"/>
                <a:gd name="connsiteX1" fmla="*/ 731519 w 731519"/>
                <a:gd name="connsiteY1" fmla="*/ 0 h 6857993"/>
                <a:gd name="connsiteX2" fmla="*/ 731519 w 731519"/>
                <a:gd name="connsiteY2" fmla="*/ 6857993 h 6857993"/>
                <a:gd name="connsiteX3" fmla="*/ 0 w 7315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519" h="6857993">
                  <a:moveTo>
                    <a:pt x="0" y="0"/>
                  </a:moveTo>
                  <a:lnTo>
                    <a:pt x="731519" y="0"/>
                  </a:lnTo>
                  <a:lnTo>
                    <a:pt x="7315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chemeClr val="bg1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Graphic 26">
              <a:extLst>
                <a:ext uri="{FF2B5EF4-FFF2-40B4-BE49-F238E27FC236}">
                  <a16:creationId xmlns:a16="http://schemas.microsoft.com/office/drawing/2014/main" id="{4133EB4C-D6E3-4DA7-AF52-5E3655FE2C45}"/>
                </a:ext>
              </a:extLst>
            </p:cNvPr>
            <p:cNvSpPr/>
            <p:nvPr/>
          </p:nvSpPr>
          <p:spPr bwMode="white">
            <a:xfrm>
              <a:off x="8968743" y="4"/>
              <a:ext cx="480059" cy="6857993"/>
            </a:xfrm>
            <a:custGeom>
              <a:avLst/>
              <a:gdLst>
                <a:gd name="connsiteX0" fmla="*/ 0 w 480059"/>
                <a:gd name="connsiteY0" fmla="*/ 0 h 6857993"/>
                <a:gd name="connsiteX1" fmla="*/ 480060 w 480059"/>
                <a:gd name="connsiteY1" fmla="*/ 0 h 6857993"/>
                <a:gd name="connsiteX2" fmla="*/ 480060 w 480059"/>
                <a:gd name="connsiteY2" fmla="*/ 6857993 h 6857993"/>
                <a:gd name="connsiteX3" fmla="*/ 0 w 4800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9" h="6857993">
                  <a:moveTo>
                    <a:pt x="0" y="0"/>
                  </a:moveTo>
                  <a:lnTo>
                    <a:pt x="480060" y="0"/>
                  </a:lnTo>
                  <a:lnTo>
                    <a:pt x="4800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chemeClr val="bg1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Graphic 26">
              <a:extLst>
                <a:ext uri="{FF2B5EF4-FFF2-40B4-BE49-F238E27FC236}">
                  <a16:creationId xmlns:a16="http://schemas.microsoft.com/office/drawing/2014/main" id="{DDC787A1-9B9E-46CA-B5C0-C5811882A12A}"/>
                </a:ext>
              </a:extLst>
            </p:cNvPr>
            <p:cNvSpPr/>
            <p:nvPr/>
          </p:nvSpPr>
          <p:spPr bwMode="white">
            <a:xfrm>
              <a:off x="10568941" y="4"/>
              <a:ext cx="251459" cy="6857993"/>
            </a:xfrm>
            <a:custGeom>
              <a:avLst/>
              <a:gdLst>
                <a:gd name="connsiteX0" fmla="*/ 0 w 251459"/>
                <a:gd name="connsiteY0" fmla="*/ 0 h 6857993"/>
                <a:gd name="connsiteX1" fmla="*/ 251460 w 251459"/>
                <a:gd name="connsiteY1" fmla="*/ 0 h 6857993"/>
                <a:gd name="connsiteX2" fmla="*/ 251460 w 251459"/>
                <a:gd name="connsiteY2" fmla="*/ 6857993 h 6857993"/>
                <a:gd name="connsiteX3" fmla="*/ 0 w 2514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59" h="6857993">
                  <a:moveTo>
                    <a:pt x="0" y="0"/>
                  </a:moveTo>
                  <a:lnTo>
                    <a:pt x="251460" y="0"/>
                  </a:lnTo>
                  <a:lnTo>
                    <a:pt x="2514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chemeClr val="bg1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Graphic 26">
              <a:extLst>
                <a:ext uri="{FF2B5EF4-FFF2-40B4-BE49-F238E27FC236}">
                  <a16:creationId xmlns:a16="http://schemas.microsoft.com/office/drawing/2014/main" id="{5243378D-8DAD-4DE2-BC46-2DC2B339D410}"/>
                </a:ext>
              </a:extLst>
            </p:cNvPr>
            <p:cNvSpPr/>
            <p:nvPr/>
          </p:nvSpPr>
          <p:spPr bwMode="white">
            <a:xfrm>
              <a:off x="5334007" y="4"/>
              <a:ext cx="6857993" cy="6857993"/>
            </a:xfrm>
            <a:custGeom>
              <a:avLst/>
              <a:gdLst>
                <a:gd name="connsiteX0" fmla="*/ 0 w 6857993"/>
                <a:gd name="connsiteY0" fmla="*/ 0 h 6857993"/>
                <a:gd name="connsiteX1" fmla="*/ 6857993 w 6857993"/>
                <a:gd name="connsiteY1" fmla="*/ 0 h 6857993"/>
                <a:gd name="connsiteX2" fmla="*/ 6857993 w 6857993"/>
                <a:gd name="connsiteY2" fmla="*/ 6857993 h 6857993"/>
                <a:gd name="connsiteX3" fmla="*/ 0 w 6857993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3" h="6857993">
                  <a:moveTo>
                    <a:pt x="0" y="0"/>
                  </a:moveTo>
                  <a:lnTo>
                    <a:pt x="6857993" y="0"/>
                  </a:lnTo>
                  <a:lnTo>
                    <a:pt x="6857993" y="6857993"/>
                  </a:lnTo>
                  <a:lnTo>
                    <a:pt x="0" y="6857993"/>
                  </a:lnTo>
                  <a:close/>
                </a:path>
              </a:pathLst>
            </a:custGeom>
            <a:noFill/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Name Surname (optional)</a:t>
            </a:r>
            <a:endParaRPr lang="en-US" noProof="0" dirty="0" err="1"/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39353AF3-BF02-4A9C-8C74-74A0B4BCD9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6602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4758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 Title Slide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>
            <a:extLst>
              <a:ext uri="{FF2B5EF4-FFF2-40B4-BE49-F238E27FC236}">
                <a16:creationId xmlns:a16="http://schemas.microsoft.com/office/drawing/2014/main" id="{DA0222DF-4806-4E6E-90AA-EA482DC21A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385823" y="-778999"/>
            <a:ext cx="14963647" cy="8415998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7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4975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>
            <a:extLst>
              <a:ext uri="{FF2B5EF4-FFF2-40B4-BE49-F238E27FC236}">
                <a16:creationId xmlns:a16="http://schemas.microsoft.com/office/drawing/2014/main" id="{040B560D-31FC-4D7A-ADA7-7A0E086028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641901" y="-266623"/>
            <a:ext cx="13475802" cy="7580138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21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subtitle (optional)</a:t>
            </a:r>
            <a:endParaRPr lang="en-US" noProof="0" dirty="0"/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Name Surname (optional)</a:t>
            </a:r>
            <a:endParaRPr lang="en-US" noProof="0" dirty="0" err="1"/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39353AF3-BF02-4A9C-8C74-74A0B4BCD9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6602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3965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 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>
            <a:extLst>
              <a:ext uri="{FF2B5EF4-FFF2-40B4-BE49-F238E27FC236}">
                <a16:creationId xmlns:a16="http://schemas.microsoft.com/office/drawing/2014/main" id="{040B560D-31FC-4D7A-ADA7-7A0E086028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641901" y="-266623"/>
            <a:ext cx="13475802" cy="7580138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21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subtitle (optional)</a:t>
            </a:r>
            <a:endParaRPr lang="en-US" noProof="0" dirty="0"/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Name Surname (optional)</a:t>
            </a:r>
            <a:endParaRPr lang="en-US" noProof="0" dirty="0" err="1"/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39353AF3-BF02-4A9C-8C74-74A0B4BCD9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6602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63885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7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phic 20">
            <a:extLst>
              <a:ext uri="{FF2B5EF4-FFF2-40B4-BE49-F238E27FC236}">
                <a16:creationId xmlns:a16="http://schemas.microsoft.com/office/drawing/2014/main" id="{68D19662-F20D-4CBD-9383-C01528F1A9A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6348971" y="519118"/>
            <a:ext cx="5327649" cy="3693836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9597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476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291D4B97-00EB-4886-9747-76F2CCEA58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6980904" y="260648"/>
            <a:ext cx="4090586" cy="4090586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8616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21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phic 15">
            <a:extLst>
              <a:ext uri="{FF2B5EF4-FFF2-40B4-BE49-F238E27FC236}">
                <a16:creationId xmlns:a16="http://schemas.microsoft.com/office/drawing/2014/main" id="{CF24094D-0E6A-468C-9152-08D8270D52F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44072" y="159810"/>
            <a:ext cx="4536504" cy="4364429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subtitle (optional)</a:t>
            </a:r>
            <a:endParaRPr lang="en-US" noProof="0" dirty="0"/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Name Surname (optional)</a:t>
            </a:r>
            <a:endParaRPr lang="en-US" noProof="0" dirty="0" err="1"/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39353AF3-BF02-4A9C-8C74-74A0B4BCD94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6602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558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7 (client logo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212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A large crowd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7657A8BF-7518-4535-8355-43029AF74E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5999" cy="68580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F7A86F4-FA12-4653-BE93-43D28462DAF3}"/>
              </a:ext>
            </a:extLst>
          </p:cNvPr>
          <p:cNvGrpSpPr/>
          <p:nvPr userDrawn="1"/>
        </p:nvGrpSpPr>
        <p:grpSpPr bwMode="white">
          <a:xfrm>
            <a:off x="5334007" y="0"/>
            <a:ext cx="6857993" cy="6858000"/>
            <a:chOff x="5334007" y="0"/>
            <a:chExt cx="6857993" cy="6858000"/>
          </a:xfrm>
        </p:grpSpPr>
        <p:sp>
          <p:nvSpPr>
            <p:cNvPr id="15" name="Graphic 26">
              <a:extLst>
                <a:ext uri="{FF2B5EF4-FFF2-40B4-BE49-F238E27FC236}">
                  <a16:creationId xmlns:a16="http://schemas.microsoft.com/office/drawing/2014/main" id="{3A01106B-747B-408F-B6EE-C68EAEC48E96}"/>
                </a:ext>
              </a:extLst>
            </p:cNvPr>
            <p:cNvSpPr/>
            <p:nvPr/>
          </p:nvSpPr>
          <p:spPr bwMode="white">
            <a:xfrm>
              <a:off x="5745486" y="0"/>
              <a:ext cx="960119" cy="6858000"/>
            </a:xfrm>
            <a:custGeom>
              <a:avLst/>
              <a:gdLst>
                <a:gd name="connsiteX0" fmla="*/ 0 w 960119"/>
                <a:gd name="connsiteY0" fmla="*/ 0 h 6857993"/>
                <a:gd name="connsiteX1" fmla="*/ 960119 w 960119"/>
                <a:gd name="connsiteY1" fmla="*/ 0 h 6857993"/>
                <a:gd name="connsiteX2" fmla="*/ 960119 w 960119"/>
                <a:gd name="connsiteY2" fmla="*/ 6857993 h 6857993"/>
                <a:gd name="connsiteX3" fmla="*/ 0 w 9601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0119" h="6857993">
                  <a:moveTo>
                    <a:pt x="0" y="0"/>
                  </a:moveTo>
                  <a:lnTo>
                    <a:pt x="960119" y="0"/>
                  </a:lnTo>
                  <a:lnTo>
                    <a:pt x="9601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phic 26">
              <a:extLst>
                <a:ext uri="{FF2B5EF4-FFF2-40B4-BE49-F238E27FC236}">
                  <a16:creationId xmlns:a16="http://schemas.microsoft.com/office/drawing/2014/main" id="{0E01C1D3-4ACE-4808-8564-A10B7D9402D5}"/>
                </a:ext>
              </a:extLst>
            </p:cNvPr>
            <p:cNvSpPr/>
            <p:nvPr/>
          </p:nvSpPr>
          <p:spPr bwMode="white">
            <a:xfrm>
              <a:off x="7345684" y="0"/>
              <a:ext cx="731519" cy="6858000"/>
            </a:xfrm>
            <a:custGeom>
              <a:avLst/>
              <a:gdLst>
                <a:gd name="connsiteX0" fmla="*/ 0 w 731519"/>
                <a:gd name="connsiteY0" fmla="*/ 0 h 6857993"/>
                <a:gd name="connsiteX1" fmla="*/ 731519 w 731519"/>
                <a:gd name="connsiteY1" fmla="*/ 0 h 6857993"/>
                <a:gd name="connsiteX2" fmla="*/ 731519 w 731519"/>
                <a:gd name="connsiteY2" fmla="*/ 6857993 h 6857993"/>
                <a:gd name="connsiteX3" fmla="*/ 0 w 7315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519" h="6857993">
                  <a:moveTo>
                    <a:pt x="0" y="0"/>
                  </a:moveTo>
                  <a:lnTo>
                    <a:pt x="731519" y="0"/>
                  </a:lnTo>
                  <a:lnTo>
                    <a:pt x="7315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Graphic 26">
              <a:extLst>
                <a:ext uri="{FF2B5EF4-FFF2-40B4-BE49-F238E27FC236}">
                  <a16:creationId xmlns:a16="http://schemas.microsoft.com/office/drawing/2014/main" id="{18DF3446-E12A-4B24-A59A-7FA337528D59}"/>
                </a:ext>
              </a:extLst>
            </p:cNvPr>
            <p:cNvSpPr/>
            <p:nvPr/>
          </p:nvSpPr>
          <p:spPr bwMode="white">
            <a:xfrm>
              <a:off x="8968743" y="0"/>
              <a:ext cx="480059" cy="6858000"/>
            </a:xfrm>
            <a:custGeom>
              <a:avLst/>
              <a:gdLst>
                <a:gd name="connsiteX0" fmla="*/ 0 w 480059"/>
                <a:gd name="connsiteY0" fmla="*/ 0 h 6857993"/>
                <a:gd name="connsiteX1" fmla="*/ 480060 w 480059"/>
                <a:gd name="connsiteY1" fmla="*/ 0 h 6857993"/>
                <a:gd name="connsiteX2" fmla="*/ 480060 w 480059"/>
                <a:gd name="connsiteY2" fmla="*/ 6857993 h 6857993"/>
                <a:gd name="connsiteX3" fmla="*/ 0 w 4800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9" h="6857993">
                  <a:moveTo>
                    <a:pt x="0" y="0"/>
                  </a:moveTo>
                  <a:lnTo>
                    <a:pt x="480060" y="0"/>
                  </a:lnTo>
                  <a:lnTo>
                    <a:pt x="4800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Graphic 26">
              <a:extLst>
                <a:ext uri="{FF2B5EF4-FFF2-40B4-BE49-F238E27FC236}">
                  <a16:creationId xmlns:a16="http://schemas.microsoft.com/office/drawing/2014/main" id="{3E5A4A23-D391-43A6-A29B-C0C6A6808EF3}"/>
                </a:ext>
              </a:extLst>
            </p:cNvPr>
            <p:cNvSpPr/>
            <p:nvPr/>
          </p:nvSpPr>
          <p:spPr bwMode="white">
            <a:xfrm>
              <a:off x="10568941" y="0"/>
              <a:ext cx="251459" cy="6858000"/>
            </a:xfrm>
            <a:custGeom>
              <a:avLst/>
              <a:gdLst>
                <a:gd name="connsiteX0" fmla="*/ 0 w 251459"/>
                <a:gd name="connsiteY0" fmla="*/ 0 h 6857993"/>
                <a:gd name="connsiteX1" fmla="*/ 251460 w 251459"/>
                <a:gd name="connsiteY1" fmla="*/ 0 h 6857993"/>
                <a:gd name="connsiteX2" fmla="*/ 251460 w 251459"/>
                <a:gd name="connsiteY2" fmla="*/ 6857993 h 6857993"/>
                <a:gd name="connsiteX3" fmla="*/ 0 w 2514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59" h="6857993">
                  <a:moveTo>
                    <a:pt x="0" y="0"/>
                  </a:moveTo>
                  <a:lnTo>
                    <a:pt x="251460" y="0"/>
                  </a:lnTo>
                  <a:lnTo>
                    <a:pt x="2514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Graphic 26">
              <a:extLst>
                <a:ext uri="{FF2B5EF4-FFF2-40B4-BE49-F238E27FC236}">
                  <a16:creationId xmlns:a16="http://schemas.microsoft.com/office/drawing/2014/main" id="{28974072-4C0A-48BD-B197-2C5E176AFE68}"/>
                </a:ext>
              </a:extLst>
            </p:cNvPr>
            <p:cNvSpPr/>
            <p:nvPr/>
          </p:nvSpPr>
          <p:spPr bwMode="white">
            <a:xfrm>
              <a:off x="5334007" y="0"/>
              <a:ext cx="6857993" cy="6858000"/>
            </a:xfrm>
            <a:custGeom>
              <a:avLst/>
              <a:gdLst>
                <a:gd name="connsiteX0" fmla="*/ 0 w 6857993"/>
                <a:gd name="connsiteY0" fmla="*/ 0 h 6857993"/>
                <a:gd name="connsiteX1" fmla="*/ 6857993 w 6857993"/>
                <a:gd name="connsiteY1" fmla="*/ 0 h 6857993"/>
                <a:gd name="connsiteX2" fmla="*/ 6857993 w 6857993"/>
                <a:gd name="connsiteY2" fmla="*/ 6857993 h 6857993"/>
                <a:gd name="connsiteX3" fmla="*/ 0 w 6857993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3" h="6857993">
                  <a:moveTo>
                    <a:pt x="0" y="0"/>
                  </a:moveTo>
                  <a:lnTo>
                    <a:pt x="6857993" y="0"/>
                  </a:lnTo>
                  <a:lnTo>
                    <a:pt x="6857993" y="6857993"/>
                  </a:lnTo>
                  <a:lnTo>
                    <a:pt x="0" y="6857993"/>
                  </a:lnTo>
                  <a:close/>
                </a:path>
              </a:pathLst>
            </a:custGeom>
            <a:noFill/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9">
            <a:extLst>
              <a:ext uri="{FF2B5EF4-FFF2-40B4-BE49-F238E27FC236}">
                <a16:creationId xmlns:a16="http://schemas.microsoft.com/office/drawing/2014/main" id="{65DD112A-AE55-4E77-BE42-BBD32E8116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76336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Agenda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907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agenda placeholder</a:t>
            </a:r>
            <a:endParaRPr lang="en-GB" dirty="0"/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5725501F-36F8-400F-B426-0EC28DCA70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314BD5F-0A7B-4988-9AC7-A84C1DDEE4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07901" y="1772816"/>
            <a:ext cx="3384000" cy="2304000"/>
          </a:xfrm>
          <a:solidFill>
            <a:schemeClr val="bg1"/>
          </a:solidFill>
        </p:spPr>
        <p:txBody>
          <a:bodyPr lIns="108000" tIns="180000" rIns="108000" bIns="180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B52BDBA-4EC7-4E5D-AA78-6CE7917C22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380" y="1772816"/>
            <a:ext cx="1000375" cy="615553"/>
          </a:xfrm>
        </p:spPr>
        <p:txBody>
          <a:bodyPr wrap="none" lIns="108000" r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0F5E86A-F5C1-49C9-88C5-937C3BB071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4396521" y="1772816"/>
            <a:ext cx="3384000" cy="2304000"/>
          </a:xfrm>
          <a:solidFill>
            <a:schemeClr val="bg1"/>
          </a:solidFill>
        </p:spPr>
        <p:txBody>
          <a:bodyPr lIns="108000" tIns="180000" rIns="108000" bIns="180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8270417-7B92-4494-A137-0E784F5E7D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04000" y="1772816"/>
            <a:ext cx="1000375" cy="615553"/>
          </a:xfrm>
        </p:spPr>
        <p:txBody>
          <a:bodyPr wrap="none" lIns="108000" r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EBA1520B-C172-40A9-B5AE-5CEC0A5824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8285141" y="1772816"/>
            <a:ext cx="3384000" cy="2304000"/>
          </a:xfrm>
          <a:solidFill>
            <a:schemeClr val="bg1"/>
          </a:solidFill>
        </p:spPr>
        <p:txBody>
          <a:bodyPr lIns="108000" tIns="180000" rIns="108000" bIns="180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C9D865-449D-4F49-8C95-FF40B730CA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92620" y="1772816"/>
            <a:ext cx="1000375" cy="615553"/>
          </a:xfrm>
        </p:spPr>
        <p:txBody>
          <a:bodyPr wrap="none" lIns="108000" r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E201F39-2E95-4599-9C5C-04AFB7DCCB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507901" y="4293096"/>
            <a:ext cx="3384000" cy="2304000"/>
          </a:xfrm>
          <a:solidFill>
            <a:schemeClr val="bg1"/>
          </a:solidFill>
        </p:spPr>
        <p:txBody>
          <a:bodyPr lIns="108000" tIns="180000" rIns="108000" bIns="180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267DE236-04D0-4C91-9D40-879FEAD6E7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380" y="4293096"/>
            <a:ext cx="1000375" cy="615553"/>
          </a:xfrm>
        </p:spPr>
        <p:txBody>
          <a:bodyPr wrap="none" lIns="108000" r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5DEB880D-4BD6-4115-83C6-8D785D150E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4396521" y="4293096"/>
            <a:ext cx="3384000" cy="2304000"/>
          </a:xfrm>
          <a:solidFill>
            <a:schemeClr val="bg1"/>
          </a:solidFill>
        </p:spPr>
        <p:txBody>
          <a:bodyPr lIns="108000" tIns="180000" rIns="108000" bIns="180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0B5BF540-11C9-41BB-B7AF-045297217D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04000" y="4293096"/>
            <a:ext cx="1000375" cy="615553"/>
          </a:xfrm>
        </p:spPr>
        <p:txBody>
          <a:bodyPr wrap="none" lIns="108000" r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F0AB349B-0875-40D2-A3FA-9BB80729D5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white">
          <a:xfrm>
            <a:off x="8285141" y="4293096"/>
            <a:ext cx="3384000" cy="2304000"/>
          </a:xfrm>
          <a:solidFill>
            <a:schemeClr val="bg1"/>
          </a:solidFill>
        </p:spPr>
        <p:txBody>
          <a:bodyPr lIns="108000" tIns="180000" rIns="108000" bIns="180000"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846500A-5929-42C1-B324-F3AF6312F76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92620" y="4293096"/>
            <a:ext cx="1000375" cy="615553"/>
          </a:xfrm>
        </p:spPr>
        <p:txBody>
          <a:bodyPr wrap="none" lIns="108000" r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006102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Agenda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589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phic 18">
            <a:extLst>
              <a:ext uri="{FF2B5EF4-FFF2-40B4-BE49-F238E27FC236}">
                <a16:creationId xmlns:a16="http://schemas.microsoft.com/office/drawing/2014/main" id="{AC64632D-7AE6-4B85-A3B1-68DE710F6C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6960096" y="2006255"/>
            <a:ext cx="4152032" cy="41847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955875"/>
            <a:ext cx="11160000" cy="4431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agenda placeholder</a:t>
            </a:r>
            <a:endParaRPr lang="en-GB" dirty="0"/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5725501F-36F8-400F-B426-0EC28DCA70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874D7D0-7FC3-457C-8B23-1C7FA5D155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379" y="1808940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3DCEBA8A-944B-4DAD-9990-5D2A8806FC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235460" y="1972743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C8594833-F232-43C8-81FF-E78FFB47A3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9" y="2520234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08D2D705-40F2-44C0-830C-5CFB7B5A24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1235460" y="2684009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868C445B-536A-4BFA-8EDA-E9D274CAD4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515379" y="3231528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EEDFDD97-99C9-47D4-8AAB-F2B150C357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235460" y="3395275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09F67DAD-BC4C-4DA4-AEDE-2357CC6D3A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515379" y="3942822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888E5D34-3220-4461-B53E-FFB09FB7D4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235460" y="4106541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2B17ED1C-CE6C-4746-8BA1-64C77860955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515379" y="4654116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28E7329F-CAB7-4035-AEDE-7D7C6E5844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1235460" y="4817807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81D9048F-56C0-4E7A-95DA-F1237E8F50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515379" y="5365410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DA2A46CF-A6EE-45F3-9E2F-0849FB1AD0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1235460" y="5529073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7360404D-9CF1-436F-BB0D-A5781D22886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515379" y="6076704"/>
            <a:ext cx="626775" cy="492443"/>
          </a:xfrm>
        </p:spPr>
        <p:txBody>
          <a:bodyPr wrap="non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68DA1429-EE43-46AF-9384-A85FFF2FF7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1235460" y="6240338"/>
            <a:ext cx="10438678" cy="276999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  <a:endParaRPr lang="en-US" noProof="0" dirty="0"/>
          </a:p>
        </p:txBody>
      </p:sp>
      <p:cxnSp>
        <p:nvCxnSpPr>
          <p:cNvPr id="21" name="Straight Connector 17">
            <a:extLst>
              <a:ext uri="{FF2B5EF4-FFF2-40B4-BE49-F238E27FC236}">
                <a16:creationId xmlns:a16="http://schemas.microsoft.com/office/drawing/2014/main" id="{23AF8A91-A577-4FE5-9BD8-1D28C2423E01}"/>
              </a:ext>
            </a:extLst>
          </p:cNvPr>
          <p:cNvCxnSpPr>
            <a:cxnSpLocks/>
          </p:cNvCxnSpPr>
          <p:nvPr userDrawn="1"/>
        </p:nvCxnSpPr>
        <p:spPr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29182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hapter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7559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phic 18">
            <a:extLst>
              <a:ext uri="{FF2B5EF4-FFF2-40B4-BE49-F238E27FC236}">
                <a16:creationId xmlns:a16="http://schemas.microsoft.com/office/drawing/2014/main" id="{24618591-52A9-4CF3-B417-AD57BCE7D73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6960096" y="2006255"/>
            <a:ext cx="4152032" cy="4184726"/>
          </a:xfrm>
          <a:prstGeom prst="rect">
            <a:avLst/>
          </a:prstGeom>
        </p:spPr>
      </p:pic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A14E365D-5F11-407F-AAA6-24104C0F34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515379" y="955875"/>
            <a:ext cx="626775" cy="443198"/>
          </a:xfrm>
        </p:spPr>
        <p:txBody>
          <a:bodyPr wrap="none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0X</a:t>
            </a:r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5DD7A8F-F5C3-404B-9290-DA6F6C82F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1772816"/>
            <a:ext cx="11160000" cy="387798"/>
          </a:xfrm>
        </p:spPr>
        <p:txBody>
          <a:bodyPr vert="horz" anchor="t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chapter name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16D999-1B4D-4357-8004-3925CF1C7FCD}"/>
              </a:ext>
            </a:extLst>
          </p:cNvPr>
          <p:cNvCxnSpPr>
            <a:cxnSpLocks/>
          </p:cNvCxnSpPr>
          <p:nvPr userDrawn="1"/>
        </p:nvCxnSpPr>
        <p:spPr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9">
            <a:extLst>
              <a:ext uri="{FF2B5EF4-FFF2-40B4-BE49-F238E27FC236}">
                <a16:creationId xmlns:a16="http://schemas.microsoft.com/office/drawing/2014/main" id="{538AF1E9-0975-4D87-8067-BCA436FD549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49877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050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342310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Only (Blu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264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E0E887F1-983E-4C05-BDBB-F367A9A3CC6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8664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 Title Slide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7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phic 20">
            <a:extLst>
              <a:ext uri="{FF2B5EF4-FFF2-40B4-BE49-F238E27FC236}">
                <a16:creationId xmlns:a16="http://schemas.microsoft.com/office/drawing/2014/main" id="{68D19662-F20D-4CBD-9383-C01528F1A9A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6348971" y="519118"/>
            <a:ext cx="5327649" cy="3693836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1961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021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379" y="1772816"/>
            <a:ext cx="11160683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16710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and Text (Blu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5083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9" y="1772816"/>
            <a:ext cx="11160683" cy="48248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2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2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2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2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US" dirty="0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F3A920FA-D4CB-4C79-A1E7-87F48C0719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9568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5409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/>
              <a:t>Click to edit slide title (maximum two lines)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8" y="1772816"/>
            <a:ext cx="5328000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5F314F-31D2-4A0C-83F0-573E1E905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6348028" y="1772816"/>
            <a:ext cx="5328000" cy="4824834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469955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305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8" y="1772816"/>
            <a:ext cx="3385110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5F314F-31D2-4A0C-83F0-573E1E905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4403812" y="1772816"/>
            <a:ext cx="3384463" cy="4824834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3697EE3-E7C1-49CD-8834-15389A8D3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8292244" y="1772816"/>
            <a:ext cx="3384463" cy="4824834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00734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917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8" y="1772816"/>
            <a:ext cx="5328000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48028" y="1772815"/>
            <a:ext cx="5328000" cy="48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42734548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50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8" y="1772816"/>
            <a:ext cx="5328000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48028" y="1772815"/>
            <a:ext cx="5328000" cy="2340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BAA42FE7-AA4A-4E9E-A0E0-25E2CDE40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48028" y="4257092"/>
            <a:ext cx="5328000" cy="2340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79271091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393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6348028" y="1772815"/>
            <a:ext cx="5328000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378" y="1772816"/>
            <a:ext cx="5328000" cy="48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3262494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2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803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6348028" y="1772815"/>
            <a:ext cx="5328000" cy="4824834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378" y="1772816"/>
            <a:ext cx="5328000" cy="2340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BAA42FE7-AA4A-4E9E-A0E0-25E2CDE40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15378" y="4257352"/>
            <a:ext cx="5328000" cy="2340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9224785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4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C7D93E-DA72-4AEB-8F8F-D9566B56F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6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C7D93E-DA72-4AEB-8F8F-D9566B56F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33AFCF-B896-4DC7-9E1F-6CFCBD3F9CF2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103648-B850-4B17-87C8-5ED29457C8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D86141-B919-4C56-B9C4-88999E5381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42F605C-B2F2-4272-AE72-38C04A7DF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919536" y="1772816"/>
            <a:ext cx="4032000" cy="2268000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4B46E07D-7DFD-4300-AFB6-5ECE85C3D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379" y="1772815"/>
            <a:ext cx="1224000" cy="12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2EEF4088-1D5A-4E0C-A3A2-5F62D99B042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40016" y="1772815"/>
            <a:ext cx="1224000" cy="12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r>
              <a:rPr lang="en-GB"/>
              <a:t>Add image by clicking on icon</a:t>
            </a:r>
            <a:endParaRPr lang="en-GB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CDF990D-921C-4E3C-AB18-4E57EC381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7644173" y="1772816"/>
            <a:ext cx="4032000" cy="2268000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E7168AD-AA3F-415C-94FC-210EA91758F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515380" y="4329100"/>
            <a:ext cx="1224000" cy="12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A8AC86E-A5CC-4C24-B039-76772D4379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919537" y="4329100"/>
            <a:ext cx="4032000" cy="2268000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0B6B2A32-CA34-4A16-A20F-78A2214FE5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240016" y="4329100"/>
            <a:ext cx="1224000" cy="12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6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FBB6EA2F-8EA5-419D-8550-63CBA16083E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7644173" y="4329100"/>
            <a:ext cx="4032000" cy="2268000"/>
          </a:xfr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248249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82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11160090" cy="482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7437805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476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291D4B97-00EB-4886-9747-76F2CCEA58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6980904" y="260648"/>
            <a:ext cx="4090586" cy="4090586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95974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Fullsize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7235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66" cy="6857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(with a dominant light background colour) by clicking on ic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E385643E-FFF1-437E-A814-446072C084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0965468" y="169129"/>
            <a:ext cx="963613" cy="176213"/>
          </a:xfrm>
          <a:blipFill>
            <a:blip r:embed="rId5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81049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Fullsize Imag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428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51FBA04-7A77-42F6-B388-E1CC296889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66" cy="6857999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 (with a dominant dark background colour) by clicking on ic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0363889F-E632-442C-95AA-EDB9F0A37C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0965468" y="169129"/>
            <a:ext cx="963613" cy="176213"/>
          </a:xfrm>
          <a:blipFill>
            <a:blip r:embed="rId5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49664266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9122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E38182BB-B9FF-4DBB-9502-BE78E0D818D1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515380" y="2492895"/>
            <a:ext cx="11160000" cy="3888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chart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5F314F-31D2-4A0C-83F0-573E1E905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381" y="1772816"/>
            <a:ext cx="11160000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2pPr>
            <a:lvl3pPr marL="0" indent="0">
              <a:spcBef>
                <a:spcPts val="0"/>
              </a:spcBef>
              <a:buNone/>
              <a:defRPr sz="2000" b="1"/>
            </a:lvl3pPr>
            <a:lvl4pPr marL="0" indent="0">
              <a:spcBef>
                <a:spcPts val="0"/>
              </a:spcBef>
              <a:buNone/>
              <a:defRPr sz="2000" b="1"/>
            </a:lvl4pPr>
            <a:lvl5pPr marL="0" indent="0">
              <a:spcBef>
                <a:spcPts val="0"/>
              </a:spcBef>
              <a:buNone/>
              <a:defRPr sz="2000" b="1"/>
            </a:lvl5pPr>
            <a:lvl6pPr marL="0" indent="0">
              <a:spcBef>
                <a:spcPts val="0"/>
              </a:spcBef>
              <a:buNone/>
              <a:defRPr sz="2000" b="1"/>
            </a:lvl6pPr>
            <a:lvl7pPr marL="0" indent="0">
              <a:spcBef>
                <a:spcPts val="0"/>
              </a:spcBef>
              <a:buNone/>
              <a:defRPr sz="2000" b="1"/>
            </a:lvl7pPr>
            <a:lvl8pPr marL="0" indent="0">
              <a:spcBef>
                <a:spcPts val="0"/>
              </a:spcBef>
              <a:buNone/>
              <a:defRPr sz="2000" b="1"/>
            </a:lvl8pPr>
            <a:lvl9pPr marL="0" indent="0">
              <a:spcBef>
                <a:spcPts val="0"/>
              </a:spcBef>
              <a:buNone/>
              <a:defRPr sz="2000" b="1"/>
            </a:lvl9pPr>
          </a:lstStyle>
          <a:p>
            <a:pPr lvl="0"/>
            <a:r>
              <a:rPr lang="en-GB" noProof="0" dirty="0"/>
              <a:t>Click to edit chart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5D03ED8-9A15-4934-9D17-2B92EED7B9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515381" y="2096852"/>
            <a:ext cx="11160000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2pPr>
            <a:lvl3pPr marL="0" indent="0">
              <a:spcBef>
                <a:spcPts val="0"/>
              </a:spcBef>
              <a:buNone/>
              <a:defRPr sz="1800" b="0"/>
            </a:lvl3pPr>
            <a:lvl4pPr marL="0" indent="0">
              <a:spcBef>
                <a:spcPts val="0"/>
              </a:spcBef>
              <a:buNone/>
              <a:defRPr sz="1800" b="0"/>
            </a:lvl4pPr>
            <a:lvl5pPr marL="0" indent="0">
              <a:spcBef>
                <a:spcPts val="0"/>
              </a:spcBef>
              <a:buNone/>
              <a:defRPr sz="1800" b="0"/>
            </a:lvl5pPr>
            <a:lvl6pPr marL="0" indent="0">
              <a:spcBef>
                <a:spcPts val="0"/>
              </a:spcBef>
              <a:buNone/>
              <a:defRPr sz="1800" b="0"/>
            </a:lvl6pPr>
            <a:lvl7pPr marL="0" indent="0">
              <a:spcBef>
                <a:spcPts val="0"/>
              </a:spcBef>
              <a:buNone/>
              <a:defRPr sz="1800" b="0"/>
            </a:lvl7pPr>
            <a:lvl8pPr marL="0" indent="0">
              <a:spcBef>
                <a:spcPts val="0"/>
              </a:spcBef>
              <a:buNone/>
              <a:defRPr sz="1800" b="0"/>
            </a:lvl8pPr>
            <a:lvl9pPr marL="0" indent="0">
              <a:spcBef>
                <a:spcPts val="0"/>
              </a:spcBef>
              <a:buNone/>
              <a:defRPr sz="1800" b="0"/>
            </a:lvl9pPr>
          </a:lstStyle>
          <a:p>
            <a:pPr lvl="0"/>
            <a:r>
              <a:rPr lang="en-GB" noProof="0" dirty="0"/>
              <a:t>Click to edit unit measur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9D9BA41-88B6-479C-9ABD-FE3B3CD6F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515381" y="6474241"/>
            <a:ext cx="11160000" cy="12311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 noProof="0" dirty="0"/>
              <a:t>Click to edit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4018871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Chart (30/7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19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E38182BB-B9FF-4DBB-9502-BE78E0D818D1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4403725" y="2492895"/>
            <a:ext cx="7272302" cy="3888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/>
              <a:t>Add chart by clicking on icon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/>
              <a:t>Click to edit slide title (maximum two lines)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8" y="1772816"/>
            <a:ext cx="3385110" cy="4824834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5F314F-31D2-4A0C-83F0-573E1E905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4403726" y="1772816"/>
            <a:ext cx="7272302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2pPr>
            <a:lvl3pPr marL="0" indent="0">
              <a:spcBef>
                <a:spcPts val="0"/>
              </a:spcBef>
              <a:buNone/>
              <a:defRPr sz="2000" b="1"/>
            </a:lvl3pPr>
            <a:lvl4pPr marL="0" indent="0">
              <a:spcBef>
                <a:spcPts val="0"/>
              </a:spcBef>
              <a:buNone/>
              <a:defRPr sz="2000" b="1"/>
            </a:lvl4pPr>
            <a:lvl5pPr marL="0" indent="0">
              <a:spcBef>
                <a:spcPts val="0"/>
              </a:spcBef>
              <a:buNone/>
              <a:defRPr sz="2000" b="1"/>
            </a:lvl5pPr>
            <a:lvl6pPr marL="0" indent="0">
              <a:spcBef>
                <a:spcPts val="0"/>
              </a:spcBef>
              <a:buNone/>
              <a:defRPr sz="2000" b="1"/>
            </a:lvl6pPr>
            <a:lvl7pPr marL="0" indent="0">
              <a:spcBef>
                <a:spcPts val="0"/>
              </a:spcBef>
              <a:buNone/>
              <a:defRPr sz="2000" b="1"/>
            </a:lvl7pPr>
            <a:lvl8pPr marL="0" indent="0">
              <a:spcBef>
                <a:spcPts val="0"/>
              </a:spcBef>
              <a:buNone/>
              <a:defRPr sz="2000" b="1"/>
            </a:lvl8pPr>
            <a:lvl9pPr marL="0" indent="0">
              <a:spcBef>
                <a:spcPts val="0"/>
              </a:spcBef>
              <a:buNone/>
              <a:defRPr sz="2000" b="1"/>
            </a:lvl9pPr>
          </a:lstStyle>
          <a:p>
            <a:pPr lvl="0"/>
            <a:r>
              <a:rPr lang="en-GB" noProof="0"/>
              <a:t>Click to edit chart title</a:t>
            </a:r>
            <a:endParaRPr lang="en-GB" noProof="0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5D03ED8-9A15-4934-9D17-2B92EED7B9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403726" y="2096852"/>
            <a:ext cx="7272302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2pPr>
            <a:lvl3pPr marL="0" indent="0">
              <a:spcBef>
                <a:spcPts val="0"/>
              </a:spcBef>
              <a:buNone/>
              <a:defRPr sz="1800" b="0"/>
            </a:lvl3pPr>
            <a:lvl4pPr marL="0" indent="0">
              <a:spcBef>
                <a:spcPts val="0"/>
              </a:spcBef>
              <a:buNone/>
              <a:defRPr sz="1800" b="0"/>
            </a:lvl4pPr>
            <a:lvl5pPr marL="0" indent="0">
              <a:spcBef>
                <a:spcPts val="0"/>
              </a:spcBef>
              <a:buNone/>
              <a:defRPr sz="1800" b="0"/>
            </a:lvl5pPr>
            <a:lvl6pPr marL="0" indent="0">
              <a:spcBef>
                <a:spcPts val="0"/>
              </a:spcBef>
              <a:buNone/>
              <a:defRPr sz="1800" b="0"/>
            </a:lvl6pPr>
            <a:lvl7pPr marL="0" indent="0">
              <a:spcBef>
                <a:spcPts val="0"/>
              </a:spcBef>
              <a:buNone/>
              <a:defRPr sz="1800" b="0"/>
            </a:lvl7pPr>
            <a:lvl8pPr marL="0" indent="0">
              <a:spcBef>
                <a:spcPts val="0"/>
              </a:spcBef>
              <a:buNone/>
              <a:defRPr sz="1800" b="0"/>
            </a:lvl8pPr>
            <a:lvl9pPr marL="0" indent="0">
              <a:spcBef>
                <a:spcPts val="0"/>
              </a:spcBef>
              <a:buNone/>
              <a:defRPr sz="1800" b="0"/>
            </a:lvl9pPr>
          </a:lstStyle>
          <a:p>
            <a:pPr lvl="0"/>
            <a:r>
              <a:rPr lang="en-GB" noProof="0"/>
              <a:t>Click to edit unit measure</a:t>
            </a:r>
            <a:endParaRPr lang="en-GB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9D9BA41-88B6-479C-9ABD-FE3B3CD6F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403726" y="6474241"/>
            <a:ext cx="7272302" cy="12311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 noProof="0" dirty="0"/>
              <a:t>Click to edit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98912086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Chart (50/5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3328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E38182BB-B9FF-4DBB-9502-BE78E0D818D1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6348027" y="2492895"/>
            <a:ext cx="5328000" cy="3888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/>
              <a:t>Add chart by clicking on icon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/>
              <a:t>Click to edit slide title (maximum two lines)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8" y="1772816"/>
            <a:ext cx="5328000" cy="4824834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5F314F-31D2-4A0C-83F0-573E1E905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6348028" y="1772816"/>
            <a:ext cx="5328000" cy="3077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2pPr>
            <a:lvl3pPr marL="0" indent="0">
              <a:spcBef>
                <a:spcPts val="0"/>
              </a:spcBef>
              <a:buNone/>
              <a:defRPr sz="2000" b="1"/>
            </a:lvl3pPr>
            <a:lvl4pPr marL="0" indent="0">
              <a:spcBef>
                <a:spcPts val="0"/>
              </a:spcBef>
              <a:buNone/>
              <a:defRPr sz="2000" b="1"/>
            </a:lvl4pPr>
            <a:lvl5pPr marL="0" indent="0">
              <a:spcBef>
                <a:spcPts val="0"/>
              </a:spcBef>
              <a:buNone/>
              <a:defRPr sz="2000" b="1"/>
            </a:lvl5pPr>
            <a:lvl6pPr marL="0" indent="0">
              <a:spcBef>
                <a:spcPts val="0"/>
              </a:spcBef>
              <a:buNone/>
              <a:defRPr sz="2000" b="1"/>
            </a:lvl6pPr>
            <a:lvl7pPr marL="0" indent="0">
              <a:spcBef>
                <a:spcPts val="0"/>
              </a:spcBef>
              <a:buNone/>
              <a:defRPr sz="2000" b="1"/>
            </a:lvl7pPr>
            <a:lvl8pPr marL="0" indent="0">
              <a:spcBef>
                <a:spcPts val="0"/>
              </a:spcBef>
              <a:buNone/>
              <a:defRPr sz="2000" b="1"/>
            </a:lvl8pPr>
            <a:lvl9pPr marL="0" indent="0">
              <a:spcBef>
                <a:spcPts val="0"/>
              </a:spcBef>
              <a:buNone/>
              <a:defRPr sz="2000" b="1"/>
            </a:lvl9pPr>
          </a:lstStyle>
          <a:p>
            <a:pPr lvl="0"/>
            <a:r>
              <a:rPr lang="en-GB" noProof="0"/>
              <a:t>Click to edit chart title</a:t>
            </a:r>
            <a:endParaRPr lang="en-GB" noProof="0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5D03ED8-9A15-4934-9D17-2B92EED7B9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6348028" y="2096852"/>
            <a:ext cx="5328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2pPr>
            <a:lvl3pPr marL="0" indent="0">
              <a:spcBef>
                <a:spcPts val="0"/>
              </a:spcBef>
              <a:buNone/>
              <a:defRPr sz="1800" b="0"/>
            </a:lvl3pPr>
            <a:lvl4pPr marL="0" indent="0">
              <a:spcBef>
                <a:spcPts val="0"/>
              </a:spcBef>
              <a:buNone/>
              <a:defRPr sz="1800" b="0"/>
            </a:lvl4pPr>
            <a:lvl5pPr marL="0" indent="0">
              <a:spcBef>
                <a:spcPts val="0"/>
              </a:spcBef>
              <a:buNone/>
              <a:defRPr sz="1800" b="0"/>
            </a:lvl5pPr>
            <a:lvl6pPr marL="0" indent="0">
              <a:spcBef>
                <a:spcPts val="0"/>
              </a:spcBef>
              <a:buNone/>
              <a:defRPr sz="1800" b="0"/>
            </a:lvl6pPr>
            <a:lvl7pPr marL="0" indent="0">
              <a:spcBef>
                <a:spcPts val="0"/>
              </a:spcBef>
              <a:buNone/>
              <a:defRPr sz="1800" b="0"/>
            </a:lvl7pPr>
            <a:lvl8pPr marL="0" indent="0">
              <a:spcBef>
                <a:spcPts val="0"/>
              </a:spcBef>
              <a:buNone/>
              <a:defRPr sz="1800" b="0"/>
            </a:lvl8pPr>
            <a:lvl9pPr marL="0" indent="0">
              <a:spcBef>
                <a:spcPts val="0"/>
              </a:spcBef>
              <a:buNone/>
              <a:defRPr sz="1800" b="0"/>
            </a:lvl9pPr>
          </a:lstStyle>
          <a:p>
            <a:pPr lvl="0"/>
            <a:r>
              <a:rPr lang="en-GB" noProof="0"/>
              <a:t>Click to edit unit measure</a:t>
            </a:r>
            <a:endParaRPr lang="en-GB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9D9BA41-88B6-479C-9ABD-FE3B3CD6F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6348028" y="6474241"/>
            <a:ext cx="5328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 noProof="0" dirty="0"/>
              <a:t>Click to edit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2101016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Text and Chart (70/3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613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E38182BB-B9FF-4DBB-9502-BE78E0D818D1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8291513" y="2492895"/>
            <a:ext cx="3384514" cy="3888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chart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/>
          <a:p>
            <a:r>
              <a:rPr lang="en-GB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B37F36-0DA3-41CE-870A-1E181C7799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7" y="1772816"/>
            <a:ext cx="7272897" cy="4824834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5F314F-31D2-4A0C-83F0-573E1E905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8291514" y="1772816"/>
            <a:ext cx="3384514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/>
            </a:lvl2pPr>
            <a:lvl3pPr marL="0" indent="0">
              <a:spcBef>
                <a:spcPts val="0"/>
              </a:spcBef>
              <a:buNone/>
              <a:defRPr sz="2000" b="1"/>
            </a:lvl3pPr>
            <a:lvl4pPr marL="0" indent="0">
              <a:spcBef>
                <a:spcPts val="0"/>
              </a:spcBef>
              <a:buNone/>
              <a:defRPr sz="2000" b="1"/>
            </a:lvl4pPr>
            <a:lvl5pPr marL="0" indent="0">
              <a:spcBef>
                <a:spcPts val="0"/>
              </a:spcBef>
              <a:buNone/>
              <a:defRPr sz="2000" b="1"/>
            </a:lvl5pPr>
            <a:lvl6pPr marL="0" indent="0">
              <a:spcBef>
                <a:spcPts val="0"/>
              </a:spcBef>
              <a:buNone/>
              <a:defRPr sz="2000" b="1"/>
            </a:lvl6pPr>
            <a:lvl7pPr marL="0" indent="0">
              <a:spcBef>
                <a:spcPts val="0"/>
              </a:spcBef>
              <a:buNone/>
              <a:defRPr sz="2000" b="1"/>
            </a:lvl7pPr>
            <a:lvl8pPr marL="0" indent="0">
              <a:spcBef>
                <a:spcPts val="0"/>
              </a:spcBef>
              <a:buNone/>
              <a:defRPr sz="2000" b="1"/>
            </a:lvl8pPr>
            <a:lvl9pPr marL="0" indent="0">
              <a:spcBef>
                <a:spcPts val="0"/>
              </a:spcBef>
              <a:buNone/>
              <a:defRPr sz="2000" b="1"/>
            </a:lvl9pPr>
          </a:lstStyle>
          <a:p>
            <a:pPr lvl="0"/>
            <a:r>
              <a:rPr lang="en-GB" noProof="0"/>
              <a:t>Click to edit chart title</a:t>
            </a:r>
            <a:endParaRPr lang="en-GB" noProof="0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5D03ED8-9A15-4934-9D17-2B92EED7B9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8291514" y="2096852"/>
            <a:ext cx="3384514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/>
            </a:lvl2pPr>
            <a:lvl3pPr marL="0" indent="0">
              <a:spcBef>
                <a:spcPts val="0"/>
              </a:spcBef>
              <a:buNone/>
              <a:defRPr sz="1800" b="0"/>
            </a:lvl3pPr>
            <a:lvl4pPr marL="0" indent="0">
              <a:spcBef>
                <a:spcPts val="0"/>
              </a:spcBef>
              <a:buNone/>
              <a:defRPr sz="1800" b="0"/>
            </a:lvl4pPr>
            <a:lvl5pPr marL="0" indent="0">
              <a:spcBef>
                <a:spcPts val="0"/>
              </a:spcBef>
              <a:buNone/>
              <a:defRPr sz="1800" b="0"/>
            </a:lvl5pPr>
            <a:lvl6pPr marL="0" indent="0">
              <a:spcBef>
                <a:spcPts val="0"/>
              </a:spcBef>
              <a:buNone/>
              <a:defRPr sz="1800" b="0"/>
            </a:lvl6pPr>
            <a:lvl7pPr marL="0" indent="0">
              <a:spcBef>
                <a:spcPts val="0"/>
              </a:spcBef>
              <a:buNone/>
              <a:defRPr sz="1800" b="0"/>
            </a:lvl7pPr>
            <a:lvl8pPr marL="0" indent="0">
              <a:spcBef>
                <a:spcPts val="0"/>
              </a:spcBef>
              <a:buNone/>
              <a:defRPr sz="1800" b="0"/>
            </a:lvl8pPr>
            <a:lvl9pPr marL="0" indent="0">
              <a:spcBef>
                <a:spcPts val="0"/>
              </a:spcBef>
              <a:buNone/>
              <a:defRPr sz="1800" b="0"/>
            </a:lvl9pPr>
          </a:lstStyle>
          <a:p>
            <a:pPr lvl="0"/>
            <a:r>
              <a:rPr lang="en-GB" noProof="0"/>
              <a:t>Click to edit unit measure</a:t>
            </a:r>
            <a:endParaRPr lang="en-GB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9D9BA41-88B6-479C-9ABD-FE3B3CD6F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8291514" y="6474241"/>
            <a:ext cx="3384514" cy="12311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US" noProof="0" dirty="0"/>
              <a:t>Click to edit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7453852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Quot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F4E7F0C-6CB4-40E1-9FE1-D5F3B360C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455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F4E7F0C-6CB4-40E1-9FE1-D5F3B360C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0E48D3-1E25-42EF-B8C3-B4D8B3038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040967"/>
            <a:ext cx="11160000" cy="1828193"/>
          </a:xfrm>
        </p:spPr>
        <p:txBody>
          <a:bodyPr vert="horz" anchor="b"/>
          <a:lstStyle>
            <a:lvl1pPr algn="l"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dirty="0"/>
              <a:t>“Click to edit quote (can be several lines long)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FAD490-316D-40E9-AE5B-69452AB78B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B1F86CC8-CE41-49E8-9E6F-52A82D66AB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9" y="6289575"/>
            <a:ext cx="7272896" cy="3077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GB" noProof="0" dirty="0"/>
              <a:t>Click to edit author/source (optional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79209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Quot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A2F8EEA3-1EFC-4BD2-B907-24C54747A3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35000"/>
            <a:ext cx="12192000" cy="812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F4E7F0C-6CB4-40E1-9FE1-D5F3B360C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107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F4E7F0C-6CB4-40E1-9FE1-D5F3B360C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0E48D3-1E25-42EF-B8C3-B4D8B3038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040967"/>
            <a:ext cx="11160000" cy="1828193"/>
          </a:xfrm>
        </p:spPr>
        <p:txBody>
          <a:bodyPr vert="horz" anchor="b"/>
          <a:lstStyle>
            <a:lvl1pPr algn="l">
              <a:defRPr sz="6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“Click to edit quote (can be several lines long)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FAD490-316D-40E9-AE5B-69452AB78B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4DAC277B-091D-4B8A-89DC-26FCB4E745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9" y="6289575"/>
            <a:ext cx="7272896" cy="3077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edit author/source (optional)</a:t>
            </a:r>
            <a:endParaRPr lang="en-GB" dirty="0"/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AA14A53D-978A-4C28-9F8E-2749E4256C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73146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Quot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F4E7F0C-6CB4-40E1-9FE1-D5F3B360C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107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F4E7F0C-6CB4-40E1-9FE1-D5F3B360C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63216034-F274-439C-A42F-DD2D19B902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-600" y="0"/>
            <a:ext cx="121932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662A99F-A6E5-4155-95CE-64D59EF23EC6}"/>
              </a:ext>
            </a:extLst>
          </p:cNvPr>
          <p:cNvSpPr/>
          <p:nvPr userDrawn="1"/>
        </p:nvSpPr>
        <p:spPr bwMode="hidden">
          <a:xfrm>
            <a:off x="0" y="0"/>
            <a:ext cx="12193200" cy="6858000"/>
          </a:xfrm>
          <a:prstGeom prst="rect">
            <a:avLst/>
          </a:prstGeom>
          <a:solidFill>
            <a:srgbClr val="1345F0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regular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0E48D3-1E25-42EF-B8C3-B4D8B3038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040967"/>
            <a:ext cx="11160000" cy="1828193"/>
          </a:xfrm>
        </p:spPr>
        <p:txBody>
          <a:bodyPr vert="horz" anchor="b"/>
          <a:lstStyle>
            <a:lvl1pPr algn="l">
              <a:defRPr sz="6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“Click to edit quote (can be several lines long)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FAD490-316D-40E9-AE5B-69452AB78B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4DAC277B-091D-4B8A-89DC-26FCB4E745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379" y="6289575"/>
            <a:ext cx="7272896" cy="3077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edit author/source (optional)</a:t>
            </a:r>
            <a:endParaRPr lang="en-GB" dirty="0"/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AA14A53D-978A-4C28-9F8E-2749E4256C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2510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Quote (with Ic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F4E7F0C-6CB4-40E1-9FE1-D5F3B360C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0253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F4E7F0C-6CB4-40E1-9FE1-D5F3B360C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0E48D3-1E25-42EF-B8C3-B4D8B3038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403725" y="1767007"/>
            <a:ext cx="7271654" cy="3323987"/>
          </a:xfrm>
        </p:spPr>
        <p:txBody>
          <a:bodyPr vert="horz" anchor="b"/>
          <a:lstStyle>
            <a:lvl1pPr algn="l">
              <a:defRPr sz="6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dirty="0"/>
              <a:t>“Click to edit quote (can be several lines long)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FAD490-316D-40E9-AE5B-69452AB78B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69C50B-E710-40D1-ABCB-57BD9EAB0AC9}"/>
              </a:ext>
            </a:extLst>
          </p:cNvPr>
          <p:cNvSpPr/>
          <p:nvPr userDrawn="1"/>
        </p:nvSpPr>
        <p:spPr bwMode="ltGray">
          <a:xfrm>
            <a:off x="0" y="0"/>
            <a:ext cx="39004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Text Placeholder 27">
            <a:extLst>
              <a:ext uri="{FF2B5EF4-FFF2-40B4-BE49-F238E27FC236}">
                <a16:creationId xmlns:a16="http://schemas.microsoft.com/office/drawing/2014/main" id="{94558363-9437-4093-B280-E64A89FC07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402483" y="6289575"/>
            <a:ext cx="7272896" cy="3077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5pPr>
            <a:lvl6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6pPr>
            <a:lvl7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7pPr>
            <a:lvl8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8pPr>
            <a:lvl9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9pPr>
          </a:lstStyle>
          <a:p>
            <a:pPr lvl="0"/>
            <a:r>
              <a:rPr lang="en-GB" noProof="0" dirty="0"/>
              <a:t>Click to edit author/source (optional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6669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 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21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phic 15">
            <a:extLst>
              <a:ext uri="{FF2B5EF4-FFF2-40B4-BE49-F238E27FC236}">
                <a16:creationId xmlns:a16="http://schemas.microsoft.com/office/drawing/2014/main" id="{CF24094D-0E6A-468C-9152-08D8270D52F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44072" y="159810"/>
            <a:ext cx="4536504" cy="4364429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subtitle (optional)</a:t>
            </a:r>
            <a:endParaRPr lang="en-US" noProof="0" dirty="0"/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Name Surname (optional)</a:t>
            </a:r>
            <a:endParaRPr lang="en-US" noProof="0" dirty="0" err="1"/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39353AF3-BF02-4A9C-8C74-74A0B4BCD94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6602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9883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ontact Slide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5199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714849AF-D6D9-4611-826B-67A7BCB4F1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403812" y="1779282"/>
            <a:ext cx="7272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788FE16-8869-4E53-85B6-F4C9227F6F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403812" y="2187602"/>
            <a:ext cx="7272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D93342E6-D26D-44FB-94CC-8C52C154EE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4403812" y="4916758"/>
            <a:ext cx="7272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9F684DF1-0A82-4907-8BAE-82713E537B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4403812" y="5360467"/>
            <a:ext cx="7272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439BB819-4AA7-487F-A5C2-B3FC1F93E3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4403812" y="5804176"/>
            <a:ext cx="7272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24C76F3B-1675-41E2-93DD-75CC90BDAD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4059898" y="4923981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7418B113-14F0-4FED-87FB-F49780B1F1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4059557" y="5368483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15927F0A-90D2-4F88-991A-9CD95E07BD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4059557" y="5812192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581700AF-975D-44A8-B98E-2D45CE414246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725" y="6276973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3384000" cy="45144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423818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ontact Slide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127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714849AF-D6D9-4611-826B-67A7BCB4F1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403812" y="1843016"/>
            <a:ext cx="7272000" cy="18466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788FE16-8869-4E53-85B6-F4C9227F6F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403812" y="2107686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D93342E6-D26D-44FB-94CC-8C52C154EE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4403812" y="3045545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9F684DF1-0A82-4907-8BAE-82713E537B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4403812" y="3389543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439BB819-4AA7-487F-A5C2-B3FC1F93E3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4403812" y="3733800"/>
            <a:ext cx="7272000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24C76F3B-1675-41E2-93DD-75CC90BDAD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4059898" y="3013870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7418B113-14F0-4FED-87FB-F49780B1F1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4059557" y="3359151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15927F0A-90D2-4F88-991A-9CD95E07BD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4059557" y="3703638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581700AF-975D-44A8-B98E-2D45CE414246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725" y="4098612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38" name="Straight Connector 2">
            <a:extLst>
              <a:ext uri="{FF2B5EF4-FFF2-40B4-BE49-F238E27FC236}">
                <a16:creationId xmlns:a16="http://schemas.microsoft.com/office/drawing/2014/main" id="{F293AAB1-282E-4088-B1FA-AB0A9FE6515B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041" y="6587476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524A79BD-69FE-418F-B30D-7FCF26048DC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 bwMode="black">
          <a:xfrm>
            <a:off x="4403812" y="4345699"/>
            <a:ext cx="7272000" cy="18466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4B7C2E4F-F306-4566-8DFF-0530F3AA3EF2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 bwMode="black">
          <a:xfrm>
            <a:off x="4403812" y="4610369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D951F51C-1FCE-4DF7-88E0-82F9A24448E0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 bwMode="black">
          <a:xfrm>
            <a:off x="4403812" y="5548228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AE9C51A7-FB20-46C8-A86E-7F0637F15BA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 bwMode="black">
          <a:xfrm>
            <a:off x="4403812" y="5892800"/>
            <a:ext cx="7272000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027D1AC8-22CA-4F6D-A6AC-D098F73F364A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 bwMode="black">
          <a:xfrm>
            <a:off x="4403812" y="6236223"/>
            <a:ext cx="7272000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A6054C65-A83D-43C8-8691-1F79EDB977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black">
          <a:xfrm>
            <a:off x="4059898" y="5517358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53291BC7-5E96-48E0-A3A2-DFCF1E0C0A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black">
          <a:xfrm>
            <a:off x="4059557" y="5862638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0" name="Text Placeholder 17">
            <a:extLst>
              <a:ext uri="{FF2B5EF4-FFF2-40B4-BE49-F238E27FC236}">
                <a16:creationId xmlns:a16="http://schemas.microsoft.com/office/drawing/2014/main" id="{B2B20EE7-5FCF-4745-859C-88BAC927AE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black">
          <a:xfrm>
            <a:off x="4059557" y="6205538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4" name="Picture Placeholder 8">
            <a:extLst>
              <a:ext uri="{FF2B5EF4-FFF2-40B4-BE49-F238E27FC236}">
                <a16:creationId xmlns:a16="http://schemas.microsoft.com/office/drawing/2014/main" id="{F2A5DD2D-9395-40D4-818A-A6356F4A81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15938" y="4275921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1462648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ontact Slide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77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38" name="Straight Connector 2">
            <a:extLst>
              <a:ext uri="{FF2B5EF4-FFF2-40B4-BE49-F238E27FC236}">
                <a16:creationId xmlns:a16="http://schemas.microsoft.com/office/drawing/2014/main" id="{F293AAB1-282E-4088-B1FA-AB0A9FE6515B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938" y="6587476"/>
            <a:ext cx="3384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524A79BD-69FE-418F-B30D-7FCF26048D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515938" y="4345699"/>
            <a:ext cx="338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4B7C2E4F-F306-4566-8DFF-0530F3AA3E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515938" y="4610369"/>
            <a:ext cx="338400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D951F51C-1FCE-4DF7-88E0-82F9A24448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859635" y="5548228"/>
            <a:ext cx="3040853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AE9C51A7-FB20-46C8-A86E-7F0637F15BA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black">
          <a:xfrm>
            <a:off x="859635" y="5892800"/>
            <a:ext cx="3040853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027D1AC8-22CA-4F6D-A6AC-D098F73F36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black">
          <a:xfrm>
            <a:off x="859635" y="6236223"/>
            <a:ext cx="3040853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A6054C65-A83D-43C8-8691-1F79EDB977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black">
          <a:xfrm>
            <a:off x="515721" y="5517358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53291BC7-5E96-48E0-A3A2-DFCF1E0C0A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black">
          <a:xfrm>
            <a:off x="515380" y="5862638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0" name="Text Placeholder 17">
            <a:extLst>
              <a:ext uri="{FF2B5EF4-FFF2-40B4-BE49-F238E27FC236}">
                <a16:creationId xmlns:a16="http://schemas.microsoft.com/office/drawing/2014/main" id="{B2B20EE7-5FCF-4745-859C-88BAC927AE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black">
          <a:xfrm>
            <a:off x="515380" y="6205538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E7B1A539-41E6-4899-9E8A-6C2D6B474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black">
          <a:xfrm>
            <a:off x="4403725" y="4345699"/>
            <a:ext cx="338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D1C5042F-CA17-40C8-A36D-8174D0FDB1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4403725" y="4610369"/>
            <a:ext cx="338400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E226BB61-3E4A-4154-B357-3E796A32656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4747335" y="5548228"/>
            <a:ext cx="3040853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C94DBB3E-0582-4F42-AAC5-76A3C0B35A3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black">
          <a:xfrm>
            <a:off x="4747335" y="5892800"/>
            <a:ext cx="3040853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0E35818F-E8FC-496D-9391-9D836E589D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black">
          <a:xfrm>
            <a:off x="4747335" y="6236223"/>
            <a:ext cx="3040853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53" name="Text Placeholder 17">
            <a:extLst>
              <a:ext uri="{FF2B5EF4-FFF2-40B4-BE49-F238E27FC236}">
                <a16:creationId xmlns:a16="http://schemas.microsoft.com/office/drawing/2014/main" id="{39C56199-5C64-4666-A8B6-2CB0786FD1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black">
          <a:xfrm>
            <a:off x="4403812" y="5517358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5" name="Text Placeholder 17">
            <a:extLst>
              <a:ext uri="{FF2B5EF4-FFF2-40B4-BE49-F238E27FC236}">
                <a16:creationId xmlns:a16="http://schemas.microsoft.com/office/drawing/2014/main" id="{14DBB32B-8DAA-4B7D-8BDB-1FA1FD8E87B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black">
          <a:xfrm>
            <a:off x="4403812" y="5862638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6" name="Text Placeholder 17">
            <a:extLst>
              <a:ext uri="{FF2B5EF4-FFF2-40B4-BE49-F238E27FC236}">
                <a16:creationId xmlns:a16="http://schemas.microsoft.com/office/drawing/2014/main" id="{038FAD7C-F47D-4C1C-8ABE-EEFA82B560A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black">
          <a:xfrm>
            <a:off x="4403812" y="6205538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cxnSp>
        <p:nvCxnSpPr>
          <p:cNvPr id="57" name="Straight Connector 2">
            <a:extLst>
              <a:ext uri="{FF2B5EF4-FFF2-40B4-BE49-F238E27FC236}">
                <a16:creationId xmlns:a16="http://schemas.microsoft.com/office/drawing/2014/main" id="{373D74FF-0527-4E2E-857D-370F071B02C9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725" y="6587476"/>
            <a:ext cx="3384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Picture Placeholder 8">
            <a:extLst>
              <a:ext uri="{FF2B5EF4-FFF2-40B4-BE49-F238E27FC236}">
                <a16:creationId xmlns:a16="http://schemas.microsoft.com/office/drawing/2014/main" id="{DF5181F0-F6C8-4EA3-9E32-1B493E42676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4403725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E38352F6-0533-4456-8DE5-FAAFBBF170B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black">
          <a:xfrm>
            <a:off x="8292244" y="4345699"/>
            <a:ext cx="338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A5036878-0066-4A6D-A462-D9A820A735E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black">
          <a:xfrm>
            <a:off x="8292244" y="4610369"/>
            <a:ext cx="338400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FA662FCD-B26A-4BD5-8B2F-E97BB2EC8F1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black">
          <a:xfrm>
            <a:off x="8636500" y="5548228"/>
            <a:ext cx="3040853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62" name="Text Placeholder 17">
            <a:extLst>
              <a:ext uri="{FF2B5EF4-FFF2-40B4-BE49-F238E27FC236}">
                <a16:creationId xmlns:a16="http://schemas.microsoft.com/office/drawing/2014/main" id="{F6227328-6629-41BC-928A-18CE3BEBE1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black">
          <a:xfrm>
            <a:off x="8636500" y="5892800"/>
            <a:ext cx="3040853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A31DB24E-3465-4A79-99DB-B4C03978F63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black">
          <a:xfrm>
            <a:off x="8636500" y="6236223"/>
            <a:ext cx="3040853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64" name="Text Placeholder 17">
            <a:extLst>
              <a:ext uri="{FF2B5EF4-FFF2-40B4-BE49-F238E27FC236}">
                <a16:creationId xmlns:a16="http://schemas.microsoft.com/office/drawing/2014/main" id="{D3484D72-6707-40DD-99E1-D84985E9F64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black">
          <a:xfrm>
            <a:off x="8292244" y="5517358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B8DC21E1-5EA1-4DA0-B9F2-16B46A5EADD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black">
          <a:xfrm>
            <a:off x="8292244" y="5862638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66" name="Text Placeholder 17">
            <a:extLst>
              <a:ext uri="{FF2B5EF4-FFF2-40B4-BE49-F238E27FC236}">
                <a16:creationId xmlns:a16="http://schemas.microsoft.com/office/drawing/2014/main" id="{ECF299D6-4830-4573-B483-D85F81E8669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black">
          <a:xfrm>
            <a:off x="8292244" y="6205538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67" name="Picture Placeholder 8">
            <a:extLst>
              <a:ext uri="{FF2B5EF4-FFF2-40B4-BE49-F238E27FC236}">
                <a16:creationId xmlns:a16="http://schemas.microsoft.com/office/drawing/2014/main" id="{ECB0BCA4-7CE7-4F06-A0CD-A3D58573391C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 bwMode="gray">
          <a:xfrm>
            <a:off x="8292244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68" name="Straight Connector 2">
            <a:extLst>
              <a:ext uri="{FF2B5EF4-FFF2-40B4-BE49-F238E27FC236}">
                <a16:creationId xmlns:a16="http://schemas.microsoft.com/office/drawing/2014/main" id="{F3122F66-B955-470F-ABA9-FB99F5FED427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8292244" y="6587476"/>
            <a:ext cx="3384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867287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ontact Slide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929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714849AF-D6D9-4611-826B-67A7BCB4F1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3323972" y="1843016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788FE16-8869-4E53-85B6-F4C9227F6F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323972" y="2107686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D93342E6-D26D-44FB-94CC-8C52C154EE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3323972" y="2875992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9F684DF1-0A82-4907-8BAE-82713E537B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3323972" y="3219990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439BB819-4AA7-487F-A5C2-B3FC1F93E3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3323972" y="3564247"/>
            <a:ext cx="2520000" cy="33855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24C76F3B-1675-41E2-93DD-75CC90BDAD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2980058" y="2844317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7418B113-14F0-4FED-87FB-F49780B1F1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2979717" y="3189598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15927F0A-90D2-4F88-991A-9CD95E07BD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2979717" y="3534085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581700AF-975D-44A8-B98E-2D45CE414246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323885" y="4098612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38" name="Straight Connector 2">
            <a:extLst>
              <a:ext uri="{FF2B5EF4-FFF2-40B4-BE49-F238E27FC236}">
                <a16:creationId xmlns:a16="http://schemas.microsoft.com/office/drawing/2014/main" id="{F293AAB1-282E-4088-B1FA-AB0A9FE6515B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323201" y="6587476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524A79BD-69FE-418F-B30D-7FCF26048DC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 bwMode="black">
          <a:xfrm>
            <a:off x="3323972" y="4345699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4B7C2E4F-F306-4566-8DFF-0530F3AA3EF2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 bwMode="black">
          <a:xfrm>
            <a:off x="3323972" y="4610369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D951F51C-1FCE-4DF7-88E0-82F9A24448E0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 bwMode="black">
          <a:xfrm>
            <a:off x="3323972" y="5378675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AE9C51A7-FB20-46C8-A86E-7F0637F15BA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 bwMode="black">
          <a:xfrm>
            <a:off x="3323972" y="5723247"/>
            <a:ext cx="2520000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027D1AC8-22CA-4F6D-A6AC-D098F73F364A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 bwMode="black">
          <a:xfrm>
            <a:off x="3323972" y="6066670"/>
            <a:ext cx="2520000" cy="33855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A6054C65-A83D-43C8-8691-1F79EDB977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black">
          <a:xfrm>
            <a:off x="2980058" y="5347805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53291BC7-5E96-48E0-A3A2-DFCF1E0C0A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black">
          <a:xfrm>
            <a:off x="2979717" y="5693085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0" name="Text Placeholder 17">
            <a:extLst>
              <a:ext uri="{FF2B5EF4-FFF2-40B4-BE49-F238E27FC236}">
                <a16:creationId xmlns:a16="http://schemas.microsoft.com/office/drawing/2014/main" id="{B2B20EE7-5FCF-4745-859C-88BAC927AE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black">
          <a:xfrm>
            <a:off x="2979717" y="6035985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4" name="Picture Placeholder 8">
            <a:extLst>
              <a:ext uri="{FF2B5EF4-FFF2-40B4-BE49-F238E27FC236}">
                <a16:creationId xmlns:a16="http://schemas.microsoft.com/office/drawing/2014/main" id="{F2A5DD2D-9395-40D4-818A-A6356F4A81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15938" y="4275921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045151F-1DA1-4FB0-B142-F656633D2F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9156620" y="1843016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68E45868-6CCD-4D5B-A2FC-623E1A02CF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9156620" y="2107686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464D9D7C-7B9D-4942-AB1D-04C2CB714B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black">
          <a:xfrm>
            <a:off x="9156620" y="2875992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A5EB138D-075B-4CD1-8589-ECCF9065AFE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black">
          <a:xfrm>
            <a:off x="9156620" y="3219990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51" name="Text Placeholder 17">
            <a:extLst>
              <a:ext uri="{FF2B5EF4-FFF2-40B4-BE49-F238E27FC236}">
                <a16:creationId xmlns:a16="http://schemas.microsoft.com/office/drawing/2014/main" id="{E53888BD-DF49-46EB-846A-A431C7A6B39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black">
          <a:xfrm>
            <a:off x="9156620" y="3564247"/>
            <a:ext cx="2520000" cy="33855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53" name="Text Placeholder 17">
            <a:extLst>
              <a:ext uri="{FF2B5EF4-FFF2-40B4-BE49-F238E27FC236}">
                <a16:creationId xmlns:a16="http://schemas.microsoft.com/office/drawing/2014/main" id="{2F92EA25-A31B-4CD5-BD9E-17F00355003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black">
          <a:xfrm>
            <a:off x="8812706" y="2844317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5" name="Text Placeholder 17">
            <a:extLst>
              <a:ext uri="{FF2B5EF4-FFF2-40B4-BE49-F238E27FC236}">
                <a16:creationId xmlns:a16="http://schemas.microsoft.com/office/drawing/2014/main" id="{A5F9A24C-3CAC-4728-B641-EF254FE12A7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black">
          <a:xfrm>
            <a:off x="8812365" y="3189598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56" name="Text Placeholder 17">
            <a:extLst>
              <a:ext uri="{FF2B5EF4-FFF2-40B4-BE49-F238E27FC236}">
                <a16:creationId xmlns:a16="http://schemas.microsoft.com/office/drawing/2014/main" id="{7BB39E2D-55D3-4365-BD0B-84C1E92C879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black">
          <a:xfrm>
            <a:off x="8812365" y="3534085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cxnSp>
        <p:nvCxnSpPr>
          <p:cNvPr id="57" name="Straight Connector 2">
            <a:extLst>
              <a:ext uri="{FF2B5EF4-FFF2-40B4-BE49-F238E27FC236}">
                <a16:creationId xmlns:a16="http://schemas.microsoft.com/office/drawing/2014/main" id="{5FFB81B0-7062-4D48-AB46-3449B85BB8A5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9156533" y="4098612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Picture Placeholder 8">
            <a:extLst>
              <a:ext uri="{FF2B5EF4-FFF2-40B4-BE49-F238E27FC236}">
                <a16:creationId xmlns:a16="http://schemas.microsoft.com/office/drawing/2014/main" id="{4B8E8304-E952-4F0B-8E5B-2DED14E148E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6348586" y="1772815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59" name="Straight Connector 2">
            <a:extLst>
              <a:ext uri="{FF2B5EF4-FFF2-40B4-BE49-F238E27FC236}">
                <a16:creationId xmlns:a16="http://schemas.microsoft.com/office/drawing/2014/main" id="{3B075C98-FFB4-4E4F-802A-8D6E1870BE30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9155849" y="6587476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12659612-8CFD-40FE-8E32-625C4EC584A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black">
          <a:xfrm>
            <a:off x="9156620" y="4345699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93EFBD9C-EB03-4073-9138-CBB7697737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black">
          <a:xfrm>
            <a:off x="9156620" y="4610369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62" name="Text Placeholder 17">
            <a:extLst>
              <a:ext uri="{FF2B5EF4-FFF2-40B4-BE49-F238E27FC236}">
                <a16:creationId xmlns:a16="http://schemas.microsoft.com/office/drawing/2014/main" id="{EE3A9937-6322-431B-B372-DE27E949861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black">
          <a:xfrm>
            <a:off x="9156620" y="5378675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phone number</a:t>
            </a:r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F56BFEF-FC00-4916-A547-DE26B786499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black">
          <a:xfrm>
            <a:off x="9156620" y="5723247"/>
            <a:ext cx="2520000" cy="1698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e-mail</a:t>
            </a:r>
          </a:p>
        </p:txBody>
      </p:sp>
      <p:sp>
        <p:nvSpPr>
          <p:cNvPr id="64" name="Text Placeholder 17">
            <a:extLst>
              <a:ext uri="{FF2B5EF4-FFF2-40B4-BE49-F238E27FC236}">
                <a16:creationId xmlns:a16="http://schemas.microsoft.com/office/drawing/2014/main" id="{0FDF1F27-1FE3-4D45-A369-EE20B8F50B3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black">
          <a:xfrm>
            <a:off x="9156620" y="6066670"/>
            <a:ext cx="2520000" cy="33855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ddress and/or website</a:t>
            </a:r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B86D375-0E39-4AAB-B9EA-9F25028AA09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black">
          <a:xfrm>
            <a:off x="8812706" y="5347805"/>
            <a:ext cx="230188" cy="23177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66" name="Text Placeholder 17">
            <a:extLst>
              <a:ext uri="{FF2B5EF4-FFF2-40B4-BE49-F238E27FC236}">
                <a16:creationId xmlns:a16="http://schemas.microsoft.com/office/drawing/2014/main" id="{CCC8386F-CC54-4B64-B5D1-9A657680880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black">
          <a:xfrm>
            <a:off x="8812365" y="5693085"/>
            <a:ext cx="230188" cy="230188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F22A8F00-A8F5-45FA-939B-AF9CDECFC16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black">
          <a:xfrm>
            <a:off x="8812365" y="6035985"/>
            <a:ext cx="230188" cy="230188"/>
          </a:xfr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GB" noProof="0" dirty="0"/>
              <a:t> </a:t>
            </a:r>
            <a:endParaRPr lang="en-GB" dirty="0"/>
          </a:p>
        </p:txBody>
      </p:sp>
      <p:sp>
        <p:nvSpPr>
          <p:cNvPr id="68" name="Picture Placeholder 8">
            <a:extLst>
              <a:ext uri="{FF2B5EF4-FFF2-40B4-BE49-F238E27FC236}">
                <a16:creationId xmlns:a16="http://schemas.microsoft.com/office/drawing/2014/main" id="{E08E1A1A-B90B-4570-89FB-2CBAC88E310E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 bwMode="gray">
          <a:xfrm>
            <a:off x="6348586" y="4275921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29862103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ea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DAA53045-E974-482F-B6C6-845AE0AF16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309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DAA53045-E974-482F-B6C6-845AE0AF16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086E5-7758-47C4-8898-4163291B8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2DA71C-D7C8-4F9C-B46C-266684C7A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6EA5DAA-8AEF-46F4-BB21-743A48497D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0E5443-3F17-4526-A9CF-4F2AF5CBABE6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B956040-3451-432A-B5D2-97358481E6D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530045D-760B-4E05-876C-201A25FABB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3356992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D96EF947-4571-43F8-92E4-D07EE98171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3573016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CA820576-85AC-479E-A001-12FA5AAB95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11939" y="1844976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7AA9479-788C-499E-A630-7E83685603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2766049" y="3356992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B1128BEE-6034-489B-AD03-C2B5B9B52C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2766049" y="3573016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DBB0C52C-610C-4860-BA22-411515F257A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162049" y="1844976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DAF038AE-DE49-4023-BDA5-39B60C6E488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5016159" y="3356992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F404D44F-CCF4-4FE8-ACD4-916B43C2FE9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5016159" y="3573016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F05CB38D-5215-4CE0-BD06-02F60AC510E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412159" y="1844976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6F83E7FF-96B5-41BF-9F7B-DFEF8E7C01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7266269" y="3356992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6EE6B3D-7934-423E-8403-7C44279F8C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7266269" y="3573016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35" name="Picture Placeholder 8">
            <a:extLst>
              <a:ext uri="{FF2B5EF4-FFF2-40B4-BE49-F238E27FC236}">
                <a16:creationId xmlns:a16="http://schemas.microsoft.com/office/drawing/2014/main" id="{EE48FF3F-D3F1-47CF-B226-FD2E77D5C5E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662269" y="1844976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9F5EED4C-37B5-44C5-9CA8-E676D80BFB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9516380" y="3356992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F2AEC920-CE3C-40A2-A3BA-D12E82362C4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black">
          <a:xfrm>
            <a:off x="9516380" y="3573016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38" name="Picture Placeholder 8">
            <a:extLst>
              <a:ext uri="{FF2B5EF4-FFF2-40B4-BE49-F238E27FC236}">
                <a16:creationId xmlns:a16="http://schemas.microsoft.com/office/drawing/2014/main" id="{2BA03EE4-FB8E-4FAC-9A09-7F9629EF414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912380" y="1844976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8CAD84BF-EBCD-412B-B937-F20D8D946C1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black">
          <a:xfrm>
            <a:off x="515939" y="5697100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A8D53672-E839-46C9-B4E1-E51878390F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black">
          <a:xfrm>
            <a:off x="515939" y="5913124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46" name="Picture Placeholder 8">
            <a:extLst>
              <a:ext uri="{FF2B5EF4-FFF2-40B4-BE49-F238E27FC236}">
                <a16:creationId xmlns:a16="http://schemas.microsoft.com/office/drawing/2014/main" id="{EC89A633-F77B-4562-BBFC-100DCEE5DA9A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911939" y="4185084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7080AC9E-2FAE-405F-AF21-5FE0E08F5F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black">
          <a:xfrm>
            <a:off x="2766049" y="5697100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DEAD5799-0F94-456C-9B0B-24598FB47B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2766049" y="5913124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49" name="Picture Placeholder 8">
            <a:extLst>
              <a:ext uri="{FF2B5EF4-FFF2-40B4-BE49-F238E27FC236}">
                <a16:creationId xmlns:a16="http://schemas.microsoft.com/office/drawing/2014/main" id="{D622DB33-8E37-4A91-BD82-2C313AD8AC1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3162049" y="4185084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50" name="Text Placeholder 17">
            <a:extLst>
              <a:ext uri="{FF2B5EF4-FFF2-40B4-BE49-F238E27FC236}">
                <a16:creationId xmlns:a16="http://schemas.microsoft.com/office/drawing/2014/main" id="{8BC882EA-EED9-4D75-AD66-F3E6AE956B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black">
          <a:xfrm>
            <a:off x="5016159" y="5697100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51" name="Text Placeholder 17">
            <a:extLst>
              <a:ext uri="{FF2B5EF4-FFF2-40B4-BE49-F238E27FC236}">
                <a16:creationId xmlns:a16="http://schemas.microsoft.com/office/drawing/2014/main" id="{1A9149D9-9411-4220-BA60-4E8F6467932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black">
          <a:xfrm>
            <a:off x="5016159" y="5913124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F60BAFB9-CCF4-4AF5-AF34-AEF4E7F5EDF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5412159" y="4185084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53" name="Text Placeholder 17">
            <a:extLst>
              <a:ext uri="{FF2B5EF4-FFF2-40B4-BE49-F238E27FC236}">
                <a16:creationId xmlns:a16="http://schemas.microsoft.com/office/drawing/2014/main" id="{A61EDF38-8ED6-4FCF-8E0E-87349C8771C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black">
          <a:xfrm>
            <a:off x="7266269" y="5697100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54" name="Text Placeholder 17">
            <a:extLst>
              <a:ext uri="{FF2B5EF4-FFF2-40B4-BE49-F238E27FC236}">
                <a16:creationId xmlns:a16="http://schemas.microsoft.com/office/drawing/2014/main" id="{CC1C73D2-FD13-45FD-A853-A92C17368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black">
          <a:xfrm>
            <a:off x="7266269" y="5913124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5" name="Picture Placeholder 8">
            <a:extLst>
              <a:ext uri="{FF2B5EF4-FFF2-40B4-BE49-F238E27FC236}">
                <a16:creationId xmlns:a16="http://schemas.microsoft.com/office/drawing/2014/main" id="{0EA6483C-F65D-4BFD-8AAC-A7C54A2F1AB0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7662269" y="4185084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56" name="Text Placeholder 17">
            <a:extLst>
              <a:ext uri="{FF2B5EF4-FFF2-40B4-BE49-F238E27FC236}">
                <a16:creationId xmlns:a16="http://schemas.microsoft.com/office/drawing/2014/main" id="{AEFD0D59-9881-4B53-B65F-7476EFFCB4D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black">
          <a:xfrm>
            <a:off x="9516380" y="5697100"/>
            <a:ext cx="2160000" cy="153888"/>
          </a:xfrm>
        </p:spPr>
        <p:txBody>
          <a:bodyPr anchor="b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B2963923-B6BF-468B-9BD8-769977A94A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black">
          <a:xfrm>
            <a:off x="9516380" y="5913124"/>
            <a:ext cx="2160000" cy="153888"/>
          </a:xfr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8" name="Picture Placeholder 8">
            <a:extLst>
              <a:ext uri="{FF2B5EF4-FFF2-40B4-BE49-F238E27FC236}">
                <a16:creationId xmlns:a16="http://schemas.microsoft.com/office/drawing/2014/main" id="{A64DBF48-FACB-4962-96CD-6DABC04EED0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 bwMode="gray">
          <a:xfrm>
            <a:off x="9912380" y="4185084"/>
            <a:ext cx="1368000" cy="136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1200" b="0"/>
            </a:lvl1pPr>
          </a:lstStyle>
          <a:p>
            <a:r>
              <a:rPr lang="en-GB" dirty="0"/>
              <a:t>Add image by clicking on icon</a:t>
            </a:r>
          </a:p>
        </p:txBody>
      </p:sp>
      <p:pic>
        <p:nvPicPr>
          <p:cNvPr id="39" name="Grafik 9">
            <a:extLst>
              <a:ext uri="{FF2B5EF4-FFF2-40B4-BE49-F238E27FC236}">
                <a16:creationId xmlns:a16="http://schemas.microsoft.com/office/drawing/2014/main" id="{27479C41-C887-4A37-AA46-D564C237427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31283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Speak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583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714849AF-D6D9-4611-826B-67A7BCB4F1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403812" y="1779282"/>
            <a:ext cx="7272000" cy="492443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presentation topic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788FE16-8869-4E53-85B6-F4C9227F6F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403812" y="5526332"/>
            <a:ext cx="7272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  <a:endParaRPr lang="en-US" noProof="0" dirty="0"/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D93342E6-D26D-44FB-94CC-8C52C154EE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4403812" y="5917041"/>
            <a:ext cx="7272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581700AF-975D-44A8-B98E-2D45CE414246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725" y="6276973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3384000" cy="45144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17" name="Straight Connector 2">
            <a:extLst>
              <a:ext uri="{FF2B5EF4-FFF2-40B4-BE49-F238E27FC236}">
                <a16:creationId xmlns:a16="http://schemas.microsoft.com/office/drawing/2014/main" id="{98189A68-68A4-42EA-829E-8EBEBC3DDBBB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725" y="5412622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942565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Speak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149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581700AF-975D-44A8-B98E-2D45CE414246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725" y="4098612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38" name="Straight Connector 2">
            <a:extLst>
              <a:ext uri="{FF2B5EF4-FFF2-40B4-BE49-F238E27FC236}">
                <a16:creationId xmlns:a16="http://schemas.microsoft.com/office/drawing/2014/main" id="{F293AAB1-282E-4088-B1FA-AB0A9FE6515B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041" y="6587476"/>
            <a:ext cx="72723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Picture Placeholder 8">
            <a:extLst>
              <a:ext uri="{FF2B5EF4-FFF2-40B4-BE49-F238E27FC236}">
                <a16:creationId xmlns:a16="http://schemas.microsoft.com/office/drawing/2014/main" id="{F2A5DD2D-9395-40D4-818A-A6356F4A81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15938" y="4275921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8DE3CDB2-E4F1-413A-ADC9-0C17D6E6E5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403812" y="1779282"/>
            <a:ext cx="7272000" cy="43088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presentation topic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719CAA87-E119-4B96-9737-64FBB7C2F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403812" y="3501008"/>
            <a:ext cx="7272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  <a:endParaRPr lang="en-US" noProof="0" dirty="0" err="1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A6B49FF-49E6-4817-AD88-5DCE6EF52B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4403812" y="3765678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BE16138C-C81F-4A8C-B459-CB6FB1DE4CA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4403812" y="4275921"/>
            <a:ext cx="7272000" cy="43088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8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presentation topic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C84B7DCE-CCC6-4B31-8B0C-CA0E10349AF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4403812" y="5997647"/>
            <a:ext cx="7272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  <a:endParaRPr lang="en-US" noProof="0" dirty="0" err="1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785E149A-B4EA-40F5-BC52-39E5B2C41C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black">
          <a:xfrm>
            <a:off x="4403812" y="6262317"/>
            <a:ext cx="7272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title/function</a:t>
            </a:r>
            <a:endParaRPr lang="en-US" noProof="0" dirty="0" err="1"/>
          </a:p>
        </p:txBody>
      </p:sp>
    </p:spTree>
    <p:extLst>
      <p:ext uri="{BB962C8B-B14F-4D97-AF65-F5344CB8AC3E}">
        <p14:creationId xmlns:p14="http://schemas.microsoft.com/office/powerpoint/2010/main" val="134455778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Speak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698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524A79BD-69FE-418F-B30D-7FCF26048D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515938" y="4345699"/>
            <a:ext cx="3384000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presentation topic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4B7C2E4F-F306-4566-8DFF-0530F3AA3E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515938" y="5997647"/>
            <a:ext cx="338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D951F51C-1FCE-4DF7-88E0-82F9A24448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515938" y="6262317"/>
            <a:ext cx="338400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E7B1A539-41E6-4899-9E8A-6C2D6B4748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black">
          <a:xfrm>
            <a:off x="4403812" y="4345699"/>
            <a:ext cx="3384000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presentation topic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D1C5042F-CA17-40C8-A36D-8174D0FDB1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4403812" y="5997647"/>
            <a:ext cx="338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  <a:endParaRPr lang="en-US" noProof="0" dirty="0" err="1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E226BB61-3E4A-4154-B357-3E796A32656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4403812" y="6262317"/>
            <a:ext cx="338400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8" name="Picture Placeholder 8">
            <a:extLst>
              <a:ext uri="{FF2B5EF4-FFF2-40B4-BE49-F238E27FC236}">
                <a16:creationId xmlns:a16="http://schemas.microsoft.com/office/drawing/2014/main" id="{DF5181F0-F6C8-4EA3-9E32-1B493E42676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4403812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E38352F6-0533-4456-8DE5-FAAFBBF170B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black">
          <a:xfrm>
            <a:off x="8292244" y="4345699"/>
            <a:ext cx="3384000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presentation topic</a:t>
            </a:r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A5036878-0066-4A6D-A462-D9A820A735E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black">
          <a:xfrm>
            <a:off x="8292244" y="5997647"/>
            <a:ext cx="338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lick to edit Name Surname</a:t>
            </a:r>
            <a:endParaRPr lang="en-US" noProof="0" dirty="0" err="1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FA662FCD-B26A-4BD5-8B2F-E97BB2EC8F1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black">
          <a:xfrm>
            <a:off x="8292244" y="6262317"/>
            <a:ext cx="338400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67" name="Picture Placeholder 8">
            <a:extLst>
              <a:ext uri="{FF2B5EF4-FFF2-40B4-BE49-F238E27FC236}">
                <a16:creationId xmlns:a16="http://schemas.microsoft.com/office/drawing/2014/main" id="{ECB0BCA4-7CE7-4F06-A0CD-A3D58573391C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 bwMode="gray">
          <a:xfrm>
            <a:off x="8292244" y="1772815"/>
            <a:ext cx="3384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45" name="Straight Connector 2">
            <a:extLst>
              <a:ext uri="{FF2B5EF4-FFF2-40B4-BE49-F238E27FC236}">
                <a16:creationId xmlns:a16="http://schemas.microsoft.com/office/drawing/2014/main" id="{00D39825-D0CD-4C07-BF39-34F87CB2A9A0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938" y="6587476"/>
            <a:ext cx="3384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">
            <a:extLst>
              <a:ext uri="{FF2B5EF4-FFF2-40B4-BE49-F238E27FC236}">
                <a16:creationId xmlns:a16="http://schemas.microsoft.com/office/drawing/2014/main" id="{BA397C17-9EED-45E2-9453-D783EA0AEEF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4403812" y="6587476"/>
            <a:ext cx="3384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">
            <a:extLst>
              <a:ext uri="{FF2B5EF4-FFF2-40B4-BE49-F238E27FC236}">
                <a16:creationId xmlns:a16="http://schemas.microsoft.com/office/drawing/2014/main" id="{BA95F752-99CF-4A2D-B838-0502BDD2C093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8292244" y="6587476"/>
            <a:ext cx="3384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805003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Speaker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5FD6BF-EF15-4A10-AAE0-DF7049186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599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5FD6BF-EF15-4A10-AAE0-DF7049186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C4B14-5487-40C6-82DA-22A871D58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 (maximum two lines)</a:t>
            </a: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917B9D04-3D68-469A-9DD2-99BCF50FCD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9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42C853-0FC9-4DB1-B501-C684BE07171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1556792"/>
            <a:ext cx="1116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714849AF-D6D9-4611-826B-67A7BCB4F1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3323972" y="1843016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788FE16-8869-4E53-85B6-F4C9227F6F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323972" y="2107686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6A9DB438-D33E-40B9-926D-7BE49C5318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5938" y="1772815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524A79BD-69FE-418F-B30D-7FCF26048DC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 bwMode="black">
          <a:xfrm>
            <a:off x="3323972" y="4345699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4B7C2E4F-F306-4566-8DFF-0530F3AA3EF2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 bwMode="black">
          <a:xfrm>
            <a:off x="3323972" y="4610369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4" name="Picture Placeholder 8">
            <a:extLst>
              <a:ext uri="{FF2B5EF4-FFF2-40B4-BE49-F238E27FC236}">
                <a16:creationId xmlns:a16="http://schemas.microsoft.com/office/drawing/2014/main" id="{F2A5DD2D-9395-40D4-818A-A6356F4A817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515938" y="4275921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045151F-1DA1-4FB0-B142-F656633D2F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9156620" y="1843016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68E45868-6CCD-4D5B-A2FC-623E1A02CF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9156620" y="2107686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58" name="Picture Placeholder 8">
            <a:extLst>
              <a:ext uri="{FF2B5EF4-FFF2-40B4-BE49-F238E27FC236}">
                <a16:creationId xmlns:a16="http://schemas.microsoft.com/office/drawing/2014/main" id="{4B8E8304-E952-4F0B-8E5B-2DED14E148E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6348586" y="1772815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12659612-8CFD-40FE-8E32-625C4EC584A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black">
          <a:xfrm>
            <a:off x="9156620" y="4345699"/>
            <a:ext cx="2520000" cy="184666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lick to edit Name Surname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93EFBD9C-EB03-4073-9138-CBB7697737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black">
          <a:xfrm>
            <a:off x="9156620" y="4610369"/>
            <a:ext cx="2520000" cy="16927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title/function</a:t>
            </a:r>
          </a:p>
        </p:txBody>
      </p:sp>
      <p:sp>
        <p:nvSpPr>
          <p:cNvPr id="68" name="Picture Placeholder 8">
            <a:extLst>
              <a:ext uri="{FF2B5EF4-FFF2-40B4-BE49-F238E27FC236}">
                <a16:creationId xmlns:a16="http://schemas.microsoft.com/office/drawing/2014/main" id="{E08E1A1A-B90B-4570-89FB-2CBAC88E310E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 bwMode="gray">
          <a:xfrm>
            <a:off x="6348586" y="4275921"/>
            <a:ext cx="2268000" cy="232537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="0"/>
            </a:lvl1pPr>
          </a:lstStyle>
          <a:p>
            <a:r>
              <a:rPr lang="en-GB" dirty="0"/>
              <a:t>Add image by clicking on icon</a:t>
            </a:r>
          </a:p>
        </p:txBody>
      </p:sp>
      <p:cxnSp>
        <p:nvCxnSpPr>
          <p:cNvPr id="70" name="Straight Connector 2">
            <a:extLst>
              <a:ext uri="{FF2B5EF4-FFF2-40B4-BE49-F238E27FC236}">
                <a16:creationId xmlns:a16="http://schemas.microsoft.com/office/drawing/2014/main" id="{C4E4588F-B844-4406-B0F1-025A3B7DBBF9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323885" y="4098612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">
            <a:extLst>
              <a:ext uri="{FF2B5EF4-FFF2-40B4-BE49-F238E27FC236}">
                <a16:creationId xmlns:a16="http://schemas.microsoft.com/office/drawing/2014/main" id="{FF63042C-57E9-4626-AF05-F472A35743BE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323201" y="6587476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2">
            <a:extLst>
              <a:ext uri="{FF2B5EF4-FFF2-40B4-BE49-F238E27FC236}">
                <a16:creationId xmlns:a16="http://schemas.microsoft.com/office/drawing/2014/main" id="{4F787D8D-452F-4BFF-877F-D7555E558C08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9156533" y="4098612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2">
            <a:extLst>
              <a:ext uri="{FF2B5EF4-FFF2-40B4-BE49-F238E27FC236}">
                <a16:creationId xmlns:a16="http://schemas.microsoft.com/office/drawing/2014/main" id="{55BC4CF1-1D16-4145-8E71-3A3EDA92020E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9155849" y="6587476"/>
            <a:ext cx="2520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903152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losing Slide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183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10">
            <a:extLst>
              <a:ext uri="{FF2B5EF4-FFF2-40B4-BE49-F238E27FC236}">
                <a16:creationId xmlns:a16="http://schemas.microsoft.com/office/drawing/2014/main" id="{E20356AD-0FE0-4FB6-98D0-A22DF90165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5379" y="0"/>
            <a:ext cx="6096621" cy="685869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F7A86F4-FA12-4653-BE93-43D28462DAF3}"/>
              </a:ext>
            </a:extLst>
          </p:cNvPr>
          <p:cNvGrpSpPr/>
          <p:nvPr userDrawn="1"/>
        </p:nvGrpSpPr>
        <p:grpSpPr bwMode="white">
          <a:xfrm>
            <a:off x="5334007" y="0"/>
            <a:ext cx="6857993" cy="6858000"/>
            <a:chOff x="5334007" y="0"/>
            <a:chExt cx="6857993" cy="6858000"/>
          </a:xfrm>
        </p:grpSpPr>
        <p:sp>
          <p:nvSpPr>
            <p:cNvPr id="15" name="Graphic 26">
              <a:extLst>
                <a:ext uri="{FF2B5EF4-FFF2-40B4-BE49-F238E27FC236}">
                  <a16:creationId xmlns:a16="http://schemas.microsoft.com/office/drawing/2014/main" id="{3A01106B-747B-408F-B6EE-C68EAEC48E96}"/>
                </a:ext>
              </a:extLst>
            </p:cNvPr>
            <p:cNvSpPr/>
            <p:nvPr/>
          </p:nvSpPr>
          <p:spPr bwMode="white">
            <a:xfrm>
              <a:off x="5745486" y="0"/>
              <a:ext cx="960119" cy="6858000"/>
            </a:xfrm>
            <a:custGeom>
              <a:avLst/>
              <a:gdLst>
                <a:gd name="connsiteX0" fmla="*/ 0 w 960119"/>
                <a:gd name="connsiteY0" fmla="*/ 0 h 6857993"/>
                <a:gd name="connsiteX1" fmla="*/ 960119 w 960119"/>
                <a:gd name="connsiteY1" fmla="*/ 0 h 6857993"/>
                <a:gd name="connsiteX2" fmla="*/ 960119 w 960119"/>
                <a:gd name="connsiteY2" fmla="*/ 6857993 h 6857993"/>
                <a:gd name="connsiteX3" fmla="*/ 0 w 9601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0119" h="6857993">
                  <a:moveTo>
                    <a:pt x="0" y="0"/>
                  </a:moveTo>
                  <a:lnTo>
                    <a:pt x="960119" y="0"/>
                  </a:lnTo>
                  <a:lnTo>
                    <a:pt x="9601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phic 26">
              <a:extLst>
                <a:ext uri="{FF2B5EF4-FFF2-40B4-BE49-F238E27FC236}">
                  <a16:creationId xmlns:a16="http://schemas.microsoft.com/office/drawing/2014/main" id="{0E01C1D3-4ACE-4808-8564-A10B7D9402D5}"/>
                </a:ext>
              </a:extLst>
            </p:cNvPr>
            <p:cNvSpPr/>
            <p:nvPr/>
          </p:nvSpPr>
          <p:spPr bwMode="white">
            <a:xfrm>
              <a:off x="7345684" y="0"/>
              <a:ext cx="731519" cy="6858000"/>
            </a:xfrm>
            <a:custGeom>
              <a:avLst/>
              <a:gdLst>
                <a:gd name="connsiteX0" fmla="*/ 0 w 731519"/>
                <a:gd name="connsiteY0" fmla="*/ 0 h 6857993"/>
                <a:gd name="connsiteX1" fmla="*/ 731519 w 731519"/>
                <a:gd name="connsiteY1" fmla="*/ 0 h 6857993"/>
                <a:gd name="connsiteX2" fmla="*/ 731519 w 731519"/>
                <a:gd name="connsiteY2" fmla="*/ 6857993 h 6857993"/>
                <a:gd name="connsiteX3" fmla="*/ 0 w 7315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519" h="6857993">
                  <a:moveTo>
                    <a:pt x="0" y="0"/>
                  </a:moveTo>
                  <a:lnTo>
                    <a:pt x="731519" y="0"/>
                  </a:lnTo>
                  <a:lnTo>
                    <a:pt x="7315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Graphic 26">
              <a:extLst>
                <a:ext uri="{FF2B5EF4-FFF2-40B4-BE49-F238E27FC236}">
                  <a16:creationId xmlns:a16="http://schemas.microsoft.com/office/drawing/2014/main" id="{18DF3446-E12A-4B24-A59A-7FA337528D59}"/>
                </a:ext>
              </a:extLst>
            </p:cNvPr>
            <p:cNvSpPr/>
            <p:nvPr/>
          </p:nvSpPr>
          <p:spPr bwMode="white">
            <a:xfrm>
              <a:off x="8968743" y="0"/>
              <a:ext cx="480059" cy="6858000"/>
            </a:xfrm>
            <a:custGeom>
              <a:avLst/>
              <a:gdLst>
                <a:gd name="connsiteX0" fmla="*/ 0 w 480059"/>
                <a:gd name="connsiteY0" fmla="*/ 0 h 6857993"/>
                <a:gd name="connsiteX1" fmla="*/ 480060 w 480059"/>
                <a:gd name="connsiteY1" fmla="*/ 0 h 6857993"/>
                <a:gd name="connsiteX2" fmla="*/ 480060 w 480059"/>
                <a:gd name="connsiteY2" fmla="*/ 6857993 h 6857993"/>
                <a:gd name="connsiteX3" fmla="*/ 0 w 4800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9" h="6857993">
                  <a:moveTo>
                    <a:pt x="0" y="0"/>
                  </a:moveTo>
                  <a:lnTo>
                    <a:pt x="480060" y="0"/>
                  </a:lnTo>
                  <a:lnTo>
                    <a:pt x="4800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Graphic 26">
              <a:extLst>
                <a:ext uri="{FF2B5EF4-FFF2-40B4-BE49-F238E27FC236}">
                  <a16:creationId xmlns:a16="http://schemas.microsoft.com/office/drawing/2014/main" id="{3E5A4A23-D391-43A6-A29B-C0C6A6808EF3}"/>
                </a:ext>
              </a:extLst>
            </p:cNvPr>
            <p:cNvSpPr/>
            <p:nvPr/>
          </p:nvSpPr>
          <p:spPr bwMode="white">
            <a:xfrm>
              <a:off x="10568941" y="0"/>
              <a:ext cx="251459" cy="6858000"/>
            </a:xfrm>
            <a:custGeom>
              <a:avLst/>
              <a:gdLst>
                <a:gd name="connsiteX0" fmla="*/ 0 w 251459"/>
                <a:gd name="connsiteY0" fmla="*/ 0 h 6857993"/>
                <a:gd name="connsiteX1" fmla="*/ 251460 w 251459"/>
                <a:gd name="connsiteY1" fmla="*/ 0 h 6857993"/>
                <a:gd name="connsiteX2" fmla="*/ 251460 w 251459"/>
                <a:gd name="connsiteY2" fmla="*/ 6857993 h 6857993"/>
                <a:gd name="connsiteX3" fmla="*/ 0 w 2514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59" h="6857993">
                  <a:moveTo>
                    <a:pt x="0" y="0"/>
                  </a:moveTo>
                  <a:lnTo>
                    <a:pt x="251460" y="0"/>
                  </a:lnTo>
                  <a:lnTo>
                    <a:pt x="2514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Graphic 26">
              <a:extLst>
                <a:ext uri="{FF2B5EF4-FFF2-40B4-BE49-F238E27FC236}">
                  <a16:creationId xmlns:a16="http://schemas.microsoft.com/office/drawing/2014/main" id="{28974072-4C0A-48BD-B197-2C5E176AFE68}"/>
                </a:ext>
              </a:extLst>
            </p:cNvPr>
            <p:cNvSpPr/>
            <p:nvPr/>
          </p:nvSpPr>
          <p:spPr bwMode="white">
            <a:xfrm>
              <a:off x="5334007" y="0"/>
              <a:ext cx="6857993" cy="6858000"/>
            </a:xfrm>
            <a:custGeom>
              <a:avLst/>
              <a:gdLst>
                <a:gd name="connsiteX0" fmla="*/ 0 w 6857993"/>
                <a:gd name="connsiteY0" fmla="*/ 0 h 6857993"/>
                <a:gd name="connsiteX1" fmla="*/ 6857993 w 6857993"/>
                <a:gd name="connsiteY1" fmla="*/ 0 h 6857993"/>
                <a:gd name="connsiteX2" fmla="*/ 6857993 w 6857993"/>
                <a:gd name="connsiteY2" fmla="*/ 6857993 h 6857993"/>
                <a:gd name="connsiteX3" fmla="*/ 0 w 6857993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3" h="6857993">
                  <a:moveTo>
                    <a:pt x="0" y="0"/>
                  </a:moveTo>
                  <a:lnTo>
                    <a:pt x="6857993" y="0"/>
                  </a:lnTo>
                  <a:lnTo>
                    <a:pt x="6857993" y="6857993"/>
                  </a:lnTo>
                  <a:lnTo>
                    <a:pt x="0" y="6857993"/>
                  </a:lnTo>
                  <a:close/>
                </a:path>
              </a:pathLst>
            </a:custGeom>
            <a:noFill/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final message/ conclusion</a:t>
            </a:r>
            <a:endParaRPr lang="en-GB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68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Slide 07 (client logo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212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A large crowd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7657A8BF-7518-4535-8355-43029AF74E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5999" cy="68580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F7A86F4-FA12-4653-BE93-43D28462DAF3}"/>
              </a:ext>
            </a:extLst>
          </p:cNvPr>
          <p:cNvGrpSpPr/>
          <p:nvPr userDrawn="1"/>
        </p:nvGrpSpPr>
        <p:grpSpPr bwMode="white">
          <a:xfrm>
            <a:off x="5334007" y="0"/>
            <a:ext cx="6857993" cy="6858000"/>
            <a:chOff x="5334007" y="0"/>
            <a:chExt cx="6857993" cy="6858000"/>
          </a:xfrm>
        </p:grpSpPr>
        <p:sp>
          <p:nvSpPr>
            <p:cNvPr id="15" name="Graphic 26">
              <a:extLst>
                <a:ext uri="{FF2B5EF4-FFF2-40B4-BE49-F238E27FC236}">
                  <a16:creationId xmlns:a16="http://schemas.microsoft.com/office/drawing/2014/main" id="{3A01106B-747B-408F-B6EE-C68EAEC48E96}"/>
                </a:ext>
              </a:extLst>
            </p:cNvPr>
            <p:cNvSpPr/>
            <p:nvPr/>
          </p:nvSpPr>
          <p:spPr bwMode="white">
            <a:xfrm>
              <a:off x="5745486" y="0"/>
              <a:ext cx="960119" cy="6858000"/>
            </a:xfrm>
            <a:custGeom>
              <a:avLst/>
              <a:gdLst>
                <a:gd name="connsiteX0" fmla="*/ 0 w 960119"/>
                <a:gd name="connsiteY0" fmla="*/ 0 h 6857993"/>
                <a:gd name="connsiteX1" fmla="*/ 960119 w 960119"/>
                <a:gd name="connsiteY1" fmla="*/ 0 h 6857993"/>
                <a:gd name="connsiteX2" fmla="*/ 960119 w 960119"/>
                <a:gd name="connsiteY2" fmla="*/ 6857993 h 6857993"/>
                <a:gd name="connsiteX3" fmla="*/ 0 w 9601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0119" h="6857993">
                  <a:moveTo>
                    <a:pt x="0" y="0"/>
                  </a:moveTo>
                  <a:lnTo>
                    <a:pt x="960119" y="0"/>
                  </a:lnTo>
                  <a:lnTo>
                    <a:pt x="9601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phic 26">
              <a:extLst>
                <a:ext uri="{FF2B5EF4-FFF2-40B4-BE49-F238E27FC236}">
                  <a16:creationId xmlns:a16="http://schemas.microsoft.com/office/drawing/2014/main" id="{0E01C1D3-4ACE-4808-8564-A10B7D9402D5}"/>
                </a:ext>
              </a:extLst>
            </p:cNvPr>
            <p:cNvSpPr/>
            <p:nvPr/>
          </p:nvSpPr>
          <p:spPr bwMode="white">
            <a:xfrm>
              <a:off x="7345684" y="0"/>
              <a:ext cx="731519" cy="6858000"/>
            </a:xfrm>
            <a:custGeom>
              <a:avLst/>
              <a:gdLst>
                <a:gd name="connsiteX0" fmla="*/ 0 w 731519"/>
                <a:gd name="connsiteY0" fmla="*/ 0 h 6857993"/>
                <a:gd name="connsiteX1" fmla="*/ 731519 w 731519"/>
                <a:gd name="connsiteY1" fmla="*/ 0 h 6857993"/>
                <a:gd name="connsiteX2" fmla="*/ 731519 w 731519"/>
                <a:gd name="connsiteY2" fmla="*/ 6857993 h 6857993"/>
                <a:gd name="connsiteX3" fmla="*/ 0 w 73151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519" h="6857993">
                  <a:moveTo>
                    <a:pt x="0" y="0"/>
                  </a:moveTo>
                  <a:lnTo>
                    <a:pt x="731519" y="0"/>
                  </a:lnTo>
                  <a:lnTo>
                    <a:pt x="731519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Graphic 26">
              <a:extLst>
                <a:ext uri="{FF2B5EF4-FFF2-40B4-BE49-F238E27FC236}">
                  <a16:creationId xmlns:a16="http://schemas.microsoft.com/office/drawing/2014/main" id="{18DF3446-E12A-4B24-A59A-7FA337528D59}"/>
                </a:ext>
              </a:extLst>
            </p:cNvPr>
            <p:cNvSpPr/>
            <p:nvPr/>
          </p:nvSpPr>
          <p:spPr bwMode="white">
            <a:xfrm>
              <a:off x="8968743" y="0"/>
              <a:ext cx="480059" cy="6858000"/>
            </a:xfrm>
            <a:custGeom>
              <a:avLst/>
              <a:gdLst>
                <a:gd name="connsiteX0" fmla="*/ 0 w 480059"/>
                <a:gd name="connsiteY0" fmla="*/ 0 h 6857993"/>
                <a:gd name="connsiteX1" fmla="*/ 480060 w 480059"/>
                <a:gd name="connsiteY1" fmla="*/ 0 h 6857993"/>
                <a:gd name="connsiteX2" fmla="*/ 480060 w 480059"/>
                <a:gd name="connsiteY2" fmla="*/ 6857993 h 6857993"/>
                <a:gd name="connsiteX3" fmla="*/ 0 w 4800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0059" h="6857993">
                  <a:moveTo>
                    <a:pt x="0" y="0"/>
                  </a:moveTo>
                  <a:lnTo>
                    <a:pt x="480060" y="0"/>
                  </a:lnTo>
                  <a:lnTo>
                    <a:pt x="4800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Graphic 26">
              <a:extLst>
                <a:ext uri="{FF2B5EF4-FFF2-40B4-BE49-F238E27FC236}">
                  <a16:creationId xmlns:a16="http://schemas.microsoft.com/office/drawing/2014/main" id="{3E5A4A23-D391-43A6-A29B-C0C6A6808EF3}"/>
                </a:ext>
              </a:extLst>
            </p:cNvPr>
            <p:cNvSpPr/>
            <p:nvPr/>
          </p:nvSpPr>
          <p:spPr bwMode="white">
            <a:xfrm>
              <a:off x="10568941" y="0"/>
              <a:ext cx="251459" cy="6858000"/>
            </a:xfrm>
            <a:custGeom>
              <a:avLst/>
              <a:gdLst>
                <a:gd name="connsiteX0" fmla="*/ 0 w 251459"/>
                <a:gd name="connsiteY0" fmla="*/ 0 h 6857993"/>
                <a:gd name="connsiteX1" fmla="*/ 251460 w 251459"/>
                <a:gd name="connsiteY1" fmla="*/ 0 h 6857993"/>
                <a:gd name="connsiteX2" fmla="*/ 251460 w 251459"/>
                <a:gd name="connsiteY2" fmla="*/ 6857993 h 6857993"/>
                <a:gd name="connsiteX3" fmla="*/ 0 w 251459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59" h="6857993">
                  <a:moveTo>
                    <a:pt x="0" y="0"/>
                  </a:moveTo>
                  <a:lnTo>
                    <a:pt x="251460" y="0"/>
                  </a:lnTo>
                  <a:lnTo>
                    <a:pt x="251460" y="6857993"/>
                  </a:lnTo>
                  <a:lnTo>
                    <a:pt x="0" y="6857993"/>
                  </a:lnTo>
                  <a:close/>
                </a:path>
              </a:pathLst>
            </a:custGeom>
            <a:solidFill>
              <a:srgbClr val="1345F0"/>
            </a:solidFill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Graphic 26">
              <a:extLst>
                <a:ext uri="{FF2B5EF4-FFF2-40B4-BE49-F238E27FC236}">
                  <a16:creationId xmlns:a16="http://schemas.microsoft.com/office/drawing/2014/main" id="{28974072-4C0A-48BD-B197-2C5E176AFE68}"/>
                </a:ext>
              </a:extLst>
            </p:cNvPr>
            <p:cNvSpPr/>
            <p:nvPr/>
          </p:nvSpPr>
          <p:spPr bwMode="white">
            <a:xfrm>
              <a:off x="5334007" y="0"/>
              <a:ext cx="6857993" cy="6858000"/>
            </a:xfrm>
            <a:custGeom>
              <a:avLst/>
              <a:gdLst>
                <a:gd name="connsiteX0" fmla="*/ 0 w 6857993"/>
                <a:gd name="connsiteY0" fmla="*/ 0 h 6857993"/>
                <a:gd name="connsiteX1" fmla="*/ 6857993 w 6857993"/>
                <a:gd name="connsiteY1" fmla="*/ 0 h 6857993"/>
                <a:gd name="connsiteX2" fmla="*/ 6857993 w 6857993"/>
                <a:gd name="connsiteY2" fmla="*/ 6857993 h 6857993"/>
                <a:gd name="connsiteX3" fmla="*/ 0 w 6857993"/>
                <a:gd name="connsiteY3" fmla="*/ 6857993 h 6857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3" h="6857993">
                  <a:moveTo>
                    <a:pt x="0" y="0"/>
                  </a:moveTo>
                  <a:lnTo>
                    <a:pt x="6857993" y="0"/>
                  </a:lnTo>
                  <a:lnTo>
                    <a:pt x="6857993" y="6857993"/>
                  </a:lnTo>
                  <a:lnTo>
                    <a:pt x="0" y="6857993"/>
                  </a:lnTo>
                  <a:close/>
                </a:path>
              </a:pathLst>
            </a:custGeom>
            <a:noFill/>
            <a:ln w="228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presentation title</a:t>
            </a:r>
            <a:br>
              <a:rPr lang="en-GB" dirty="0"/>
            </a:br>
            <a:r>
              <a:rPr lang="en-GB" dirty="0"/>
              <a:t>(maximum two lines)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9">
            <a:extLst>
              <a:ext uri="{FF2B5EF4-FFF2-40B4-BE49-F238E27FC236}">
                <a16:creationId xmlns:a16="http://schemas.microsoft.com/office/drawing/2014/main" id="{65DD112A-AE55-4E77-BE42-BBD32E8116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4152" y="169129"/>
            <a:ext cx="964929" cy="17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71507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Closing Slide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6FA54B-4D01-4384-8B0D-1BD31EAEA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12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6FA54B-4D01-4384-8B0D-1BD31EAEA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291D4B97-00EB-4886-9747-76F2CCEA58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6980904" y="260648"/>
            <a:ext cx="4090586" cy="4090586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4BB59338-4D2B-44A1-977B-688DC8A98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15379" y="3284984"/>
            <a:ext cx="10188574" cy="1107996"/>
          </a:xfr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final message/ conclusion</a:t>
            </a:r>
            <a:endParaRPr lang="en-GB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8F35C87-906D-4D57-AEA1-51A6917A78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15939" y="4917066"/>
            <a:ext cx="10188688" cy="400110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26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43DC8F78-B7D3-41AB-BB2B-D9CE2BF9D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15939" y="6021288"/>
            <a:ext cx="10188688" cy="276999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location, date (optional)</a:t>
            </a:r>
            <a:endParaRPr lang="en-US" noProof="0" dirty="0" err="1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3D07F140-45A2-4E3B-958C-94C050A73E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15939" y="6320353"/>
            <a:ext cx="10188688" cy="276999"/>
          </a:xfr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Name Surname (optional)</a:t>
            </a:r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A72A2E85-767A-42A0-9274-1D3BCDBFC722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515380" y="4655023"/>
            <a:ext cx="1018857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2EE20D2-7E2F-410C-85AC-045477D537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5380" y="633859"/>
            <a:ext cx="1764197" cy="32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33849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1A0AB-FE90-4D69-B27C-CAC6E73E3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905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1A0AB-FE90-4D69-B27C-CAC6E73E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9972A-3B57-4CEE-8AA6-EDE85A5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3F8CCD-3133-4E68-A581-CAC14C49CB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GB" noProof="0"/>
              <a:t>ArchUnit - Linting your Java/Kotlin Architecture with Unit tests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F2062-A4EC-46A1-80FA-AFD6F3405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740E5443-3F17-4526-A9CF-4F2AF5CBABE6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0205056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9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79.xml"/><Relationship Id="rId42" Type="http://schemas.openxmlformats.org/officeDocument/2006/relationships/slideLayout" Target="../slideLayouts/slideLayout87.xml"/><Relationship Id="rId47" Type="http://schemas.openxmlformats.org/officeDocument/2006/relationships/theme" Target="../theme/theme2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85.xml"/><Relationship Id="rId45" Type="http://schemas.openxmlformats.org/officeDocument/2006/relationships/slideLayout" Target="../slideLayouts/slideLayout90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slideLayout" Target="../slideLayouts/slideLayout81.xml"/><Relationship Id="rId49" Type="http://schemas.openxmlformats.org/officeDocument/2006/relationships/oleObject" Target="../embeddings/oleObject44.bin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76.xml"/><Relationship Id="rId44" Type="http://schemas.openxmlformats.org/officeDocument/2006/relationships/slideLayout" Target="../slideLayouts/slideLayout89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slideLayout" Target="../slideLayouts/slideLayout80.xml"/><Relationship Id="rId43" Type="http://schemas.openxmlformats.org/officeDocument/2006/relationships/slideLayout" Target="../slideLayouts/slideLayout88.xml"/><Relationship Id="rId48" Type="http://schemas.openxmlformats.org/officeDocument/2006/relationships/tags" Target="../tags/tag48.xml"/><Relationship Id="rId8" Type="http://schemas.openxmlformats.org/officeDocument/2006/relationships/slideLayout" Target="../slideLayouts/slideLayout53.xml"/><Relationship Id="rId51" Type="http://schemas.openxmlformats.org/officeDocument/2006/relationships/image" Target="../media/image2.emf"/><Relationship Id="rId3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78.xml"/><Relationship Id="rId38" Type="http://schemas.openxmlformats.org/officeDocument/2006/relationships/slideLayout" Target="../slideLayouts/slideLayout83.xml"/><Relationship Id="rId4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65.xml"/><Relationship Id="rId41" Type="http://schemas.openxmlformats.org/officeDocument/2006/relationships/slideLayout" Target="../slideLayouts/slideLayout86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355CBE9-4CBE-42E8-BDB4-95213D861F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4101580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306" imgH="306" progId="TCLayout.ActiveDocument.1">
                  <p:embed/>
                </p:oleObj>
              </mc:Choice>
              <mc:Fallback>
                <p:oleObj name="think-cell Slide" r:id="rId4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355CBE9-4CBE-42E8-BDB4-95213D861F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04F3D6-3396-4779-BD2D-2D3BAC634DAD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515379" y="955875"/>
            <a:ext cx="11160000" cy="44319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slide </a:t>
            </a:r>
            <a:r>
              <a:rPr lang="en-US"/>
              <a:t>title (</a:t>
            </a:r>
            <a:r>
              <a:rPr lang="en-US" dirty="0"/>
              <a:t>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C2070C-215B-4CAE-964D-4F9DFD95E5BE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515380" y="1772816"/>
            <a:ext cx="11160000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60A76-C3EE-49C3-A92A-5A25AF0D2A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515938" y="6628710"/>
            <a:ext cx="1080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rtl="0">
              <a:defRPr sz="800">
                <a:solidFill>
                  <a:schemeClr val="accent5"/>
                </a:solidFill>
                <a:latin typeface="+mn-lt"/>
                <a:cs typeface="GothamSSm Light" pitchFamily="2" charset="0"/>
              </a:defRPr>
            </a:lvl1pPr>
          </a:lstStyle>
          <a:p>
            <a:r>
              <a:rPr lang="en-GB"/>
              <a:t>ArchUnit - Linting your Java/Kotlin Architecture with Unit tests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6DA38A-5D08-490E-8BBB-6050BA6CC9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5378" y="6628710"/>
            <a:ext cx="25326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800">
                <a:solidFill>
                  <a:schemeClr val="accent5"/>
                </a:solidFill>
              </a:defRPr>
            </a:lvl1pPr>
          </a:lstStyle>
          <a:p>
            <a:fld id="{740E5443-3F17-4526-A9CF-4F2AF5CBAB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5029C09-2FA4-4B66-AFE0-232A38A5CE74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694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7" r:id="rId2"/>
    <p:sldLayoutId id="2147483678" r:id="rId3"/>
    <p:sldLayoutId id="2147483679" r:id="rId4"/>
    <p:sldLayoutId id="2147483681" r:id="rId5"/>
    <p:sldLayoutId id="2147483694" r:id="rId6"/>
    <p:sldLayoutId id="2147483680" r:id="rId7"/>
    <p:sldLayoutId id="2147483695" r:id="rId8"/>
    <p:sldLayoutId id="2147483682" r:id="rId9"/>
    <p:sldLayoutId id="2147483653" r:id="rId10"/>
    <p:sldLayoutId id="2147483683" r:id="rId11"/>
    <p:sldLayoutId id="2147483674" r:id="rId12"/>
    <p:sldLayoutId id="2147483657" r:id="rId13"/>
    <p:sldLayoutId id="2147483672" r:id="rId14"/>
    <p:sldLayoutId id="2147483654" r:id="rId15"/>
    <p:sldLayoutId id="2147483686" r:id="rId16"/>
    <p:sldLayoutId id="2147483655" r:id="rId17"/>
    <p:sldLayoutId id="2147483659" r:id="rId18"/>
    <p:sldLayoutId id="2147483656" r:id="rId19"/>
    <p:sldLayoutId id="2147483658" r:id="rId20"/>
    <p:sldLayoutId id="2147483660" r:id="rId21"/>
    <p:sldLayoutId id="2147483661" r:id="rId22"/>
    <p:sldLayoutId id="2147483673" r:id="rId23"/>
    <p:sldLayoutId id="2147483669" r:id="rId24"/>
    <p:sldLayoutId id="2147483670" r:id="rId25"/>
    <p:sldLayoutId id="2147483671" r:id="rId26"/>
    <p:sldLayoutId id="2147483665" r:id="rId27"/>
    <p:sldLayoutId id="2147483663" r:id="rId28"/>
    <p:sldLayoutId id="2147483662" r:id="rId29"/>
    <p:sldLayoutId id="2147483664" r:id="rId30"/>
    <p:sldLayoutId id="2147483667" r:id="rId31"/>
    <p:sldLayoutId id="2147483668" r:id="rId32"/>
    <p:sldLayoutId id="2147483696" r:id="rId33"/>
    <p:sldLayoutId id="2147483666" r:id="rId34"/>
    <p:sldLayoutId id="2147483675" r:id="rId35"/>
    <p:sldLayoutId id="2147483687" r:id="rId36"/>
    <p:sldLayoutId id="2147483688" r:id="rId37"/>
    <p:sldLayoutId id="2147483689" r:id="rId38"/>
    <p:sldLayoutId id="2147483676" r:id="rId39"/>
    <p:sldLayoutId id="2147483690" r:id="rId40"/>
    <p:sldLayoutId id="2147483691" r:id="rId41"/>
    <p:sldLayoutId id="2147483692" r:id="rId42"/>
    <p:sldLayoutId id="2147483693" r:id="rId43"/>
    <p:sldLayoutId id="2147483684" r:id="rId44"/>
    <p:sldLayoutId id="2147483685" r:id="rId4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pos="3681" userDrawn="1">
          <p15:clr>
            <a:srgbClr val="F26B43"/>
          </p15:clr>
        </p15:guide>
        <p15:guide id="6" pos="3999" userDrawn="1">
          <p15:clr>
            <a:srgbClr val="F26B43"/>
          </p15:clr>
        </p15:guide>
        <p15:guide id="7" orient="horz" pos="1117" userDrawn="1">
          <p15:clr>
            <a:srgbClr val="F26B43"/>
          </p15:clr>
        </p15:guide>
        <p15:guide id="8" pos="2457" userDrawn="1">
          <p15:clr>
            <a:srgbClr val="F26B43"/>
          </p15:clr>
        </p15:guide>
        <p15:guide id="9" pos="2774" userDrawn="1">
          <p15:clr>
            <a:srgbClr val="F26B43"/>
          </p15:clr>
        </p15:guide>
        <p15:guide id="10" pos="4906" userDrawn="1">
          <p15:clr>
            <a:srgbClr val="F26B43"/>
          </p15:clr>
        </p15:guide>
        <p15:guide id="11" pos="522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355CBE9-4CBE-42E8-BDB4-95213D861F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4101580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306" imgH="306" progId="TCLayout.ActiveDocument.1">
                  <p:embed/>
                </p:oleObj>
              </mc:Choice>
              <mc:Fallback>
                <p:oleObj name="think-cell Slide" r:id="rId49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355CBE9-4CBE-42E8-BDB4-95213D861F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04F3D6-3396-4779-BD2D-2D3BAC634DAD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515379" y="955875"/>
            <a:ext cx="11160000" cy="44319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C2070C-215B-4CAE-964D-4F9DFD95E5BE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515380" y="1772816"/>
            <a:ext cx="11160000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60A76-C3EE-49C3-A92A-5A25AF0D2A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515938" y="6628710"/>
            <a:ext cx="1080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rtl="0">
              <a:defRPr sz="800">
                <a:solidFill>
                  <a:schemeClr val="accent5"/>
                </a:solidFill>
                <a:latin typeface="+mn-lt"/>
                <a:cs typeface="GothamSSm Light" pitchFamily="2" charset="0"/>
              </a:defRPr>
            </a:lvl1pPr>
          </a:lstStyle>
          <a:p>
            <a:r>
              <a:rPr lang="en-GB"/>
              <a:t>ArchUnit - Linting your Java/Kotlin Architecture with Unit tests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6DA38A-5D08-490E-8BBB-6050BA6CC9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5378" y="6628710"/>
            <a:ext cx="25326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800">
                <a:solidFill>
                  <a:schemeClr val="accent5"/>
                </a:solidFill>
              </a:defRPr>
            </a:lvl1pPr>
          </a:lstStyle>
          <a:p>
            <a:fld id="{740E5443-3F17-4526-A9CF-4F2AF5CBAB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5029C09-2FA4-4B66-AFE0-232A38A5CE74}"/>
              </a:ext>
            </a:extLst>
          </p:cNvPr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64152" y="169129"/>
            <a:ext cx="964929" cy="17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9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  <p:sldLayoutId id="2147483721" r:id="rId24"/>
    <p:sldLayoutId id="2147483722" r:id="rId25"/>
    <p:sldLayoutId id="2147483723" r:id="rId26"/>
    <p:sldLayoutId id="2147483724" r:id="rId27"/>
    <p:sldLayoutId id="2147483725" r:id="rId28"/>
    <p:sldLayoutId id="2147483726" r:id="rId29"/>
    <p:sldLayoutId id="2147483727" r:id="rId30"/>
    <p:sldLayoutId id="2147483728" r:id="rId31"/>
    <p:sldLayoutId id="2147483729" r:id="rId32"/>
    <p:sldLayoutId id="2147483730" r:id="rId33"/>
    <p:sldLayoutId id="2147483731" r:id="rId34"/>
    <p:sldLayoutId id="2147483732" r:id="rId35"/>
    <p:sldLayoutId id="2147483733" r:id="rId36"/>
    <p:sldLayoutId id="2147483734" r:id="rId37"/>
    <p:sldLayoutId id="2147483735" r:id="rId38"/>
    <p:sldLayoutId id="2147483736" r:id="rId39"/>
    <p:sldLayoutId id="2147483737" r:id="rId40"/>
    <p:sldLayoutId id="2147483738" r:id="rId41"/>
    <p:sldLayoutId id="2147483739" r:id="rId42"/>
    <p:sldLayoutId id="2147483740" r:id="rId43"/>
    <p:sldLayoutId id="2147483741" r:id="rId44"/>
    <p:sldLayoutId id="2147483742" r:id="rId45"/>
    <p:sldLayoutId id="2147483743" r:id="rId4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4156">
          <p15:clr>
            <a:srgbClr val="F26B43"/>
          </p15:clr>
        </p15:guide>
        <p15:guide id="5" pos="3681">
          <p15:clr>
            <a:srgbClr val="F26B43"/>
          </p15:clr>
        </p15:guide>
        <p15:guide id="6" pos="3999">
          <p15:clr>
            <a:srgbClr val="F26B43"/>
          </p15:clr>
        </p15:guide>
        <p15:guide id="7" orient="horz" pos="1117">
          <p15:clr>
            <a:srgbClr val="F26B43"/>
          </p15:clr>
        </p15:guide>
        <p15:guide id="8" pos="2457">
          <p15:clr>
            <a:srgbClr val="F26B43"/>
          </p15:clr>
        </p15:guide>
        <p15:guide id="9" pos="2774">
          <p15:clr>
            <a:srgbClr val="F26B43"/>
          </p15:clr>
        </p15:guide>
        <p15:guide id="10" pos="4906">
          <p15:clr>
            <a:srgbClr val="F26B43"/>
          </p15:clr>
        </p15:guide>
        <p15:guide id="11" pos="52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archunit.org/" TargetMode="Externa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cloudflight.io/io.cloudflight.cleancode.verifier/cleancode-verifier-archunit" TargetMode="External"/><Relationship Id="rId2" Type="http://schemas.openxmlformats.org/officeDocument/2006/relationships/hyperlink" Target="https://docs.cloudflight.io/io.cloudflight.cleancode.verifier/cleancode-verifier-gradle" TargetMode="Externa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96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6725F98-B81B-4FAF-95F9-16D1F8B57C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6725F98-B81B-4FAF-95F9-16D1F8B57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24F2A4-CCF0-4A4C-BA69-E0F6D68331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379" y="3561983"/>
            <a:ext cx="10188574" cy="830997"/>
          </a:xfrm>
        </p:spPr>
        <p:txBody>
          <a:bodyPr vert="horz"/>
          <a:lstStyle/>
          <a:p>
            <a:r>
              <a:rPr lang="hu-HU" sz="6000" dirty="0"/>
              <a:t>ArchUnit</a:t>
            </a:r>
            <a:endParaRPr lang="en-US" sz="6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21E43-06EE-4827-8029-0735A730E1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5939" y="4917066"/>
            <a:ext cx="10188688" cy="430887"/>
          </a:xfrm>
        </p:spPr>
        <p:txBody>
          <a:bodyPr/>
          <a:lstStyle/>
          <a:p>
            <a:pPr marL="0" indent="0" algn="l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2800" b="0" kern="1200" dirty="0">
                <a:solidFill>
                  <a:srgbClr val="FFFFFF"/>
                </a:solidFill>
                <a:effectLst/>
                <a:latin typeface="Gotham SSm Book" panose="02000800000000000000" pitchFamily="50" charset="0"/>
                <a:ea typeface="+mn-ea"/>
                <a:cs typeface="+mn-cs"/>
              </a:rPr>
              <a:t>Linting your Java/Kotlin Architecture</a:t>
            </a:r>
            <a:r>
              <a:rPr lang="hu-HU" sz="2800" b="0" kern="1200" dirty="0">
                <a:solidFill>
                  <a:srgbClr val="FFFFFF"/>
                </a:solidFill>
                <a:effectLst/>
                <a:latin typeface="Gotham SSm Book" panose="02000800000000000000" pitchFamily="50" charset="0"/>
                <a:ea typeface="+mn-ea"/>
                <a:cs typeface="+mn-cs"/>
              </a:rPr>
              <a:t> with Unit tests</a:t>
            </a:r>
            <a:endParaRPr lang="en-US" sz="2800" dirty="0">
              <a:effectLst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60F70E-7D83-47E8-9B7C-6DDE18D919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o</a:t>
            </a:r>
            <a:r>
              <a:rPr lang="hu-HU" dirty="0"/>
              <a:t>vász Botond - György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3A3FDA-C30B-4DE4-BACD-AA5E1563BA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 dirty="0"/>
              <a:t>Cluj-Napoca, 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769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381ADE-5FBF-0FF9-4337-E53E0D64E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</a:t>
            </a:r>
            <a:r>
              <a:rPr lang="en-US" u="sng" dirty="0"/>
              <a:t>Architecture</a:t>
            </a:r>
            <a:r>
              <a:rPr lang="en-US" dirty="0"/>
              <a:t>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49B4C0-D6BE-699B-5F06-082DC8268F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D92046-349C-91F8-1329-DB78844619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14825" y="1906494"/>
            <a:ext cx="9561792" cy="455747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ecis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Technolog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Structu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onven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everything that is hard to change later on…</a:t>
            </a:r>
          </a:p>
        </p:txBody>
      </p:sp>
    </p:spTree>
    <p:extLst>
      <p:ext uri="{BB962C8B-B14F-4D97-AF65-F5344CB8AC3E}">
        <p14:creationId xmlns:p14="http://schemas.microsoft.com/office/powerpoint/2010/main" val="3737285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381ADE-5FBF-0FF9-4337-E53E0D64E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</a:t>
            </a:r>
            <a:r>
              <a:rPr lang="en-US" u="sng" dirty="0" err="1"/>
              <a:t>ArchUnit</a:t>
            </a:r>
            <a:r>
              <a:rPr lang="en-US" dirty="0"/>
              <a:t>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49B4C0-D6BE-699B-5F06-082DC8268F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D92046-349C-91F8-1329-DB78844619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14825" y="1906494"/>
            <a:ext cx="9561792" cy="4557478"/>
          </a:xfrm>
        </p:spPr>
        <p:txBody>
          <a:bodyPr/>
          <a:lstStyle/>
          <a:p>
            <a:r>
              <a:rPr lang="en-US" sz="1200" dirty="0"/>
              <a:t>“</a:t>
            </a:r>
            <a:r>
              <a:rPr lang="en-GB" sz="1200" dirty="0" err="1">
                <a:solidFill>
                  <a:schemeClr val="accent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chUnit</a:t>
            </a:r>
            <a:r>
              <a:rPr lang="en-GB" sz="1200" dirty="0"/>
              <a:t> is a free, simple and extensible library for checking the architecture of your Java code. That is, </a:t>
            </a:r>
            <a:r>
              <a:rPr lang="en-GB" sz="1200" dirty="0" err="1"/>
              <a:t>ArchUnit</a:t>
            </a:r>
            <a:r>
              <a:rPr lang="en-GB" sz="1200" dirty="0"/>
              <a:t> can check dependencies between packages and classes, layers and slices, check for cyclic dependencies and more. It does so by </a:t>
            </a:r>
            <a:r>
              <a:rPr lang="en-GB" sz="1200" dirty="0" err="1"/>
              <a:t>analyzing</a:t>
            </a:r>
            <a:r>
              <a:rPr lang="en-GB" sz="1200" dirty="0"/>
              <a:t> given Java bytecode, importing all classes into a Java code structure. </a:t>
            </a:r>
            <a:r>
              <a:rPr lang="en-GB" sz="1200" dirty="0" err="1"/>
              <a:t>ArchUnit’s</a:t>
            </a:r>
            <a:r>
              <a:rPr lang="en-GB" sz="1200" dirty="0"/>
              <a:t> main focus is to automatically test architecture and coding rules, using any plain Java unit testing framework.”</a:t>
            </a:r>
          </a:p>
          <a:p>
            <a:endParaRPr lang="en-GB" sz="1200" dirty="0"/>
          </a:p>
          <a:p>
            <a:r>
              <a:rPr lang="en-GB" sz="1600" dirty="0"/>
              <a:t>Some exampl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Package dependency che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Class dependency che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Class and package containment che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Inheritance che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Annotation che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Layer che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Cycle checks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26173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190FE2F-0B50-578F-9535-1DD1F9904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9361A87-E583-4F60-53E4-F0E977D7CA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E25993-D7F5-D343-3862-76F3E41BE97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629400"/>
            <a:ext cx="10283825" cy="112713"/>
          </a:xfrm>
        </p:spPr>
        <p:txBody>
          <a:bodyPr/>
          <a:lstStyle/>
          <a:p>
            <a:r>
              <a:rPr lang="en-GB" dirty="0" err="1"/>
              <a:t>ArchUnit</a:t>
            </a:r>
            <a:r>
              <a:rPr lang="en-GB" dirty="0"/>
              <a:t> - Linting your Java/Kotlin Architecture with Unit tests</a:t>
            </a:r>
          </a:p>
        </p:txBody>
      </p:sp>
    </p:spTree>
    <p:extLst>
      <p:ext uri="{BB962C8B-B14F-4D97-AF65-F5344CB8AC3E}">
        <p14:creationId xmlns:p14="http://schemas.microsoft.com/office/powerpoint/2010/main" val="35994301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381ADE-5FBF-0FF9-4337-E53E0D64E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</a:t>
            </a:r>
            <a:r>
              <a:rPr lang="en-US" u="sng" dirty="0"/>
              <a:t>Cloudflight-</a:t>
            </a:r>
            <a:r>
              <a:rPr lang="en-US" u="sng" dirty="0" err="1"/>
              <a:t>CleanCode</a:t>
            </a:r>
            <a:r>
              <a:rPr lang="en-US" u="sng" dirty="0"/>
              <a:t>-Verifier</a:t>
            </a:r>
            <a:r>
              <a:rPr lang="en-US" dirty="0"/>
              <a:t>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49B4C0-D6BE-699B-5F06-082DC8268F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ArchUnit - Linting your Java/Kotlin Architecture with Unit tes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D92046-349C-91F8-1329-DB78844619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14825" y="1906494"/>
            <a:ext cx="9561792" cy="455747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Clean Code Verifier for </a:t>
            </a:r>
            <a:r>
              <a:rPr lang="en-GB" sz="2400" dirty="0">
                <a:solidFill>
                  <a:schemeClr val="accent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radle</a:t>
            </a:r>
            <a:endParaRPr lang="en-GB" sz="2400" dirty="0">
              <a:solidFill>
                <a:schemeClr val="accent2"/>
              </a:solidFill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en-GB" sz="1600" dirty="0"/>
              <a:t>Collects best practices for development of Gradle build fil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GB" sz="2400" b="1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GB" sz="2400" b="1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2400" b="1" dirty="0"/>
              <a:t>Clean Code Verifier for </a:t>
            </a:r>
            <a:r>
              <a:rPr lang="en-GB" sz="2400" b="1" dirty="0" err="1">
                <a:solidFill>
                  <a:schemeClr val="accent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chUnit</a:t>
            </a:r>
            <a:endParaRPr lang="en-GB" sz="2400" b="1" dirty="0">
              <a:solidFill>
                <a:schemeClr val="accent2"/>
              </a:solidFill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en-GB" sz="1600" dirty="0"/>
              <a:t>Collects best practices for development of JDK applications (Java, Kotlin, Groovy) by using </a:t>
            </a:r>
            <a:r>
              <a:rPr lang="en-GB" sz="1600" dirty="0" err="1"/>
              <a:t>ArchUnit</a:t>
            </a:r>
            <a:r>
              <a:rPr lang="en-GB" sz="1600" dirty="0"/>
              <a:t> and </a:t>
            </a:r>
            <a:r>
              <a:rPr lang="en-GB" sz="1600" dirty="0" err="1"/>
              <a:t>analyzing</a:t>
            </a:r>
            <a:r>
              <a:rPr lang="en-GB" sz="1600" dirty="0"/>
              <a:t> bytecode.</a:t>
            </a:r>
          </a:p>
        </p:txBody>
      </p:sp>
    </p:spTree>
    <p:extLst>
      <p:ext uri="{BB962C8B-B14F-4D97-AF65-F5344CB8AC3E}">
        <p14:creationId xmlns:p14="http://schemas.microsoft.com/office/powerpoint/2010/main" val="160373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9BDC77-7FF4-44DB-BDBB-9B534996C2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015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9BDC77-7FF4-44DB-BDBB-9B534996C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86E2B9-3366-4E99-B6B7-795BD6A51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379" y="3838982"/>
            <a:ext cx="10188574" cy="553998"/>
          </a:xfrm>
        </p:spPr>
        <p:txBody>
          <a:bodyPr vert="horz"/>
          <a:lstStyle/>
          <a:p>
            <a:r>
              <a:rPr lang="en-US" dirty="0"/>
              <a:t>Thank you for your attention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27C900-3682-40FF-B3D6-5A726D01E5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ny questions?!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D7300A-D954-40AC-8A9D-01D5BAB81F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/>
              <a:t>Lov</a:t>
            </a:r>
            <a:r>
              <a:rPr lang="hu-HU" dirty="0"/>
              <a:t>ász Botond – György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9205A5-DC55-4098-A121-7314A9363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 dirty="0"/>
              <a:t>Cluj-Napoca, 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033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loudflight Master (EN)">
  <a:themeElements>
    <a:clrScheme name="Custom 5">
      <a:dk1>
        <a:srgbClr val="0A0A0A"/>
      </a:dk1>
      <a:lt1>
        <a:srgbClr val="FFFFFF"/>
      </a:lt1>
      <a:dk2>
        <a:srgbClr val="1345F0"/>
      </a:dk2>
      <a:lt2>
        <a:srgbClr val="F5F5F5"/>
      </a:lt2>
      <a:accent1>
        <a:srgbClr val="1345F0"/>
      </a:accent1>
      <a:accent2>
        <a:srgbClr val="00F28A"/>
      </a:accent2>
      <a:accent3>
        <a:srgbClr val="655EE5"/>
      </a:accent3>
      <a:accent4>
        <a:srgbClr val="3F8AFF"/>
      </a:accent4>
      <a:accent5>
        <a:srgbClr val="9C9C9C"/>
      </a:accent5>
      <a:accent6>
        <a:srgbClr val="FF5252"/>
      </a:accent6>
      <a:hlink>
        <a:srgbClr val="0A0A0A"/>
      </a:hlink>
      <a:folHlink>
        <a:srgbClr val="0A0A0A"/>
      </a:folHlink>
    </a:clrScheme>
    <a:fontScheme name="Cloudflight">
      <a:majorFont>
        <a:latin typeface="Gotham SSm Medium"/>
        <a:ea typeface=""/>
        <a:cs typeface=""/>
      </a:majorFont>
      <a:minorFont>
        <a:latin typeface="Gotham SSm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600"/>
          </a:spcBef>
          <a:buClr>
            <a:schemeClr val="accent2"/>
          </a:buClr>
          <a:buFont typeface="Wingdings" panose="05000000000000000000" pitchFamily="2" charset="2"/>
          <a:buChar char="§"/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600"/>
          </a:spcBef>
          <a:buClr>
            <a:schemeClr val="tx2"/>
          </a:buClr>
          <a:buFont typeface="Wingdings" panose="05000000000000000000" pitchFamily="2" charset="2"/>
          <a:buChar char="§"/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661FE2D8-A01D-4A38-813F-1E83F75B7210}" vid="{E5459DD2-0E8C-4357-AFE5-ED39F66192FB}"/>
    </a:ext>
  </a:extLst>
</a:theme>
</file>

<file path=ppt/theme/theme2.xml><?xml version="1.0" encoding="utf-8"?>
<a:theme xmlns:a="http://schemas.openxmlformats.org/drawingml/2006/main" name="1_cloudflight Master (EN)">
  <a:themeElements>
    <a:clrScheme name="Custom 6">
      <a:dk1>
        <a:srgbClr val="0A0A0A"/>
      </a:dk1>
      <a:lt1>
        <a:srgbClr val="FFFFFF"/>
      </a:lt1>
      <a:dk2>
        <a:srgbClr val="1345F0"/>
      </a:dk2>
      <a:lt2>
        <a:srgbClr val="F5F5F5"/>
      </a:lt2>
      <a:accent1>
        <a:srgbClr val="1345F0"/>
      </a:accent1>
      <a:accent2>
        <a:srgbClr val="00F28A"/>
      </a:accent2>
      <a:accent3>
        <a:srgbClr val="655EE5"/>
      </a:accent3>
      <a:accent4>
        <a:srgbClr val="3F8AFF"/>
      </a:accent4>
      <a:accent5>
        <a:srgbClr val="9C9C9C"/>
      </a:accent5>
      <a:accent6>
        <a:srgbClr val="FF5252"/>
      </a:accent6>
      <a:hlink>
        <a:srgbClr val="0A0A0A"/>
      </a:hlink>
      <a:folHlink>
        <a:srgbClr val="0A0A0A"/>
      </a:folHlink>
    </a:clrScheme>
    <a:fontScheme name="Cloudflight">
      <a:majorFont>
        <a:latin typeface="Gotham SSm Medium"/>
        <a:ea typeface=""/>
        <a:cs typeface=""/>
      </a:majorFont>
      <a:minorFont>
        <a:latin typeface="Gotham SSm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600"/>
          </a:spcBef>
          <a:buClr>
            <a:schemeClr val="accent2"/>
          </a:buClr>
          <a:buFont typeface="Wingdings" panose="05000000000000000000" pitchFamily="2" charset="2"/>
          <a:buChar char="§"/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600"/>
          </a:spcBef>
          <a:buClr>
            <a:schemeClr val="tx2"/>
          </a:buClr>
          <a:buFont typeface="Wingdings" panose="05000000000000000000" pitchFamily="2" charset="2"/>
          <a:buChar char="§"/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E70D45C-45BD-4033-B174-F7A606424516}" vid="{9ECA227F-3F30-48C3-AD31-AFCAD6F53195}"/>
    </a:ext>
  </a:extLst>
</a:theme>
</file>

<file path=ppt/theme/theme3.xml><?xml version="1.0" encoding="utf-8"?>
<a:theme xmlns:a="http://schemas.openxmlformats.org/drawingml/2006/main" name="Office Theme">
  <a:themeElements>
    <a:clrScheme name="cloudflight 2021 NEW">
      <a:dk1>
        <a:srgbClr val="0A0A0A"/>
      </a:dk1>
      <a:lt1>
        <a:srgbClr val="FFFFFF"/>
      </a:lt1>
      <a:dk2>
        <a:srgbClr val="1345F0"/>
      </a:dk2>
      <a:lt2>
        <a:srgbClr val="F5F5F5"/>
      </a:lt2>
      <a:accent1>
        <a:srgbClr val="004BBE"/>
      </a:accent1>
      <a:accent2>
        <a:srgbClr val="00F28A"/>
      </a:accent2>
      <a:accent3>
        <a:srgbClr val="655EE5"/>
      </a:accent3>
      <a:accent4>
        <a:srgbClr val="3F8AFF"/>
      </a:accent4>
      <a:accent5>
        <a:srgbClr val="9C9C9C"/>
      </a:accent5>
      <a:accent6>
        <a:srgbClr val="FF5252"/>
      </a:accent6>
      <a:hlink>
        <a:srgbClr val="0A0A0A"/>
      </a:hlink>
      <a:folHlink>
        <a:srgbClr val="0A0A0A"/>
      </a:folHlink>
    </a:clrScheme>
    <a:fontScheme name="cloudflight 2021">
      <a:majorFont>
        <a:latin typeface="GothamSSm Medium"/>
        <a:ea typeface=""/>
        <a:cs typeface=""/>
      </a:majorFont>
      <a:minorFont>
        <a:latin typeface="GothamSS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loudflight 2021 NEW">
      <a:dk1>
        <a:srgbClr val="0A0A0A"/>
      </a:dk1>
      <a:lt1>
        <a:srgbClr val="FFFFFF"/>
      </a:lt1>
      <a:dk2>
        <a:srgbClr val="1345F0"/>
      </a:dk2>
      <a:lt2>
        <a:srgbClr val="F5F5F5"/>
      </a:lt2>
      <a:accent1>
        <a:srgbClr val="004BBE"/>
      </a:accent1>
      <a:accent2>
        <a:srgbClr val="00F28A"/>
      </a:accent2>
      <a:accent3>
        <a:srgbClr val="655EE5"/>
      </a:accent3>
      <a:accent4>
        <a:srgbClr val="3F8AFF"/>
      </a:accent4>
      <a:accent5>
        <a:srgbClr val="9C9C9C"/>
      </a:accent5>
      <a:accent6>
        <a:srgbClr val="FF5252"/>
      </a:accent6>
      <a:hlink>
        <a:srgbClr val="0A0A0A"/>
      </a:hlink>
      <a:folHlink>
        <a:srgbClr val="0A0A0A"/>
      </a:folHlink>
    </a:clrScheme>
    <a:fontScheme name="cloudflight 2021">
      <a:majorFont>
        <a:latin typeface="GothamSSm Medium"/>
        <a:ea typeface=""/>
        <a:cs typeface=""/>
      </a:majorFont>
      <a:minorFont>
        <a:latin typeface="GothamSS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B529C53F77F4F947A074CD6B661AB" ma:contentTypeVersion="25" ma:contentTypeDescription="Create a new document." ma:contentTypeScope="" ma:versionID="26767ef7cf4086b5d112a30de07bd34a">
  <xsd:schema xmlns:xsd="http://www.w3.org/2001/XMLSchema" xmlns:xs="http://www.w3.org/2001/XMLSchema" xmlns:p="http://schemas.microsoft.com/office/2006/metadata/properties" xmlns:ns2="3432aab5-15d1-4006-ab1d-49eb877d6838" xmlns:ns3="a1a8e12b-e3e2-412b-8a05-750dd5623cf7" targetNamespace="http://schemas.microsoft.com/office/2006/metadata/properties" ma:root="true" ma:fieldsID="817646693c024b3a6751d7231c7d5255" ns2:_="" ns3:_="">
    <xsd:import namespace="3432aab5-15d1-4006-ab1d-49eb877d6838"/>
    <xsd:import namespace="a1a8e12b-e3e2-412b-8a05-750dd5623c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Thumbnail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32aab5-15d1-4006-ab1d-49eb877d68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Thumbnail" ma:index="21" nillable="true" ma:displayName="Thumbnail" ma:format="Thumbnail" ma:internalName="Thumbnail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d4d6cad1-c18c-4d70-a6a3-d0fc9914e46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a8e12b-e3e2-412b-8a05-750dd5623cf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aa6d42e4-b740-40b5-9175-68771aab3c9b}" ma:internalName="TaxCatchAll" ma:showField="CatchAllData" ma:web="a1a8e12b-e3e2-412b-8a05-750dd5623cf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humbnail xmlns="3432aab5-15d1-4006-ab1d-49eb877d6838" xsi:nil="true"/>
    <TaxCatchAll xmlns="a1a8e12b-e3e2-412b-8a05-750dd5623cf7" xsi:nil="true"/>
    <lcf76f155ced4ddcb4097134ff3c332f xmlns="3432aab5-15d1-4006-ab1d-49eb877d683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34E3B6F-C748-4DE0-8AB9-18503F47FF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32aab5-15d1-4006-ab1d-49eb877d6838"/>
    <ds:schemaRef ds:uri="a1a8e12b-e3e2-412b-8a05-750dd5623c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161000-D580-465D-9BAC-129689E8AEB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B123788-8449-408E-8513-428992FA8136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terms/"/>
    <ds:schemaRef ds:uri="http://schemas.microsoft.com/office/2006/metadata/properties"/>
    <ds:schemaRef ds:uri="3432aab5-15d1-4006-ab1d-49eb877d6838"/>
    <ds:schemaRef ds:uri="http://purl.org/dc/elements/1.1/"/>
    <ds:schemaRef ds:uri="a1a8e12b-e3e2-412b-8a05-750dd5623cf7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 Template</Template>
  <TotalTime>0</TotalTime>
  <Words>248</Words>
  <Application>Microsoft Office PowerPoint</Application>
  <PresentationFormat>Widescreen</PresentationFormat>
  <Paragraphs>3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Gotham SSm Book</vt:lpstr>
      <vt:lpstr>Gotham SSm Medium</vt:lpstr>
      <vt:lpstr>GothamSSm</vt:lpstr>
      <vt:lpstr>Montserrat regular</vt:lpstr>
      <vt:lpstr>Wingdings</vt:lpstr>
      <vt:lpstr>cloudflight Master (EN)</vt:lpstr>
      <vt:lpstr>1_cloudflight Master (EN)</vt:lpstr>
      <vt:lpstr>think-cell Slide</vt:lpstr>
      <vt:lpstr>ArchUnit</vt:lpstr>
      <vt:lpstr>What is Architecture?</vt:lpstr>
      <vt:lpstr>What is ArchUnit?</vt:lpstr>
      <vt:lpstr>Demo</vt:lpstr>
      <vt:lpstr>What is Cloudflight-CleanCode-Verifier?</vt:lpstr>
      <vt:lpstr>Thank you for your attention!</vt:lpstr>
    </vt:vector>
  </TitlesOfParts>
  <Manager>Name Surname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Unit</dc:title>
  <dc:creator>Botond Lovasz</dc:creator>
  <dc:description>PowerPoint template optimised for Office 365</dc:description>
  <cp:lastModifiedBy>Botond Lovasz</cp:lastModifiedBy>
  <cp:revision>2</cp:revision>
  <dcterms:created xsi:type="dcterms:W3CDTF">2022-07-09T12:25:26Z</dcterms:created>
  <dcterms:modified xsi:type="dcterms:W3CDTF">2022-07-09T12:5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B529C53F77F4F947A074CD6B661AB</vt:lpwstr>
  </property>
</Properties>
</file>